
<file path=[Content_Types].xml><?xml version="1.0" encoding="utf-8"?>
<Types xmlns="http://schemas.openxmlformats.org/package/2006/content-types">
  <Default Extension="xml" ContentType="application/xml"/>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6.xml" ContentType="application/vnd.openxmlformats-officedocument.presentationml.tags+xml"/>
  <Override PartName="/ppt/tags/tag61.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4"/>
  </p:notesMasterIdLst>
  <p:sldIdLst>
    <p:sldId id="15000662" r:id="rId3"/>
    <p:sldId id="15000661" r:id="rId5"/>
    <p:sldId id="15000675" r:id="rId6"/>
    <p:sldId id="15000705" r:id="rId7"/>
    <p:sldId id="15000703" r:id="rId8"/>
    <p:sldId id="15000707" r:id="rId9"/>
    <p:sldId id="15000704" r:id="rId10"/>
    <p:sldId id="15000706" r:id="rId11"/>
    <p:sldId id="15000710" r:id="rId12"/>
    <p:sldId id="15000672" r:id="rId13"/>
    <p:sldId id="15000673" r:id="rId14"/>
  </p:sldIdLst>
  <p:sldSz cx="12192000" cy="6858000"/>
  <p:notesSz cx="6805295" cy="993902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15000662"/>
            <p14:sldId id="15000661"/>
            <p14:sldId id="15000675"/>
            <p14:sldId id="15000705"/>
            <p14:sldId id="15000703"/>
            <p14:sldId id="15000707"/>
            <p14:sldId id="15000704"/>
            <p14:sldId id="15000706"/>
            <p14:sldId id="15000710"/>
            <p14:sldId id="15000672"/>
            <p14:sldId id="15000673"/>
          </p14:sldIdLst>
        </p14:section>
      </p14:sectionLst>
    </p:ext>
    <p:ext uri="{EFAFB233-063F-42B5-8137-9DF3F51BA10A}">
      <p15:sldGuideLst xmlns:p15="http://schemas.microsoft.com/office/powerpoint/2012/main">
        <p15:guide id="1" pos="3840" userDrawn="1">
          <p15:clr>
            <a:srgbClr val="A4A3A4"/>
          </p15:clr>
        </p15:guide>
        <p15:guide id="2" orient="horz" pos="246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 id="2" name="Wu, Jingjing" initials="WJ" lastIdx="2" clrIdx="1"/>
  <p:cmAuthor id="3" name="Jiang, Abi" initials="J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C7E7"/>
    <a:srgbClr val="1A1918"/>
    <a:srgbClr val="FDEDED"/>
    <a:srgbClr val="F9F9F9"/>
    <a:srgbClr val="FBFBFB"/>
    <a:srgbClr val="ED7C7F"/>
    <a:srgbClr val="F8D4D4"/>
    <a:srgbClr val="FCEAEA"/>
    <a:srgbClr val="FFFEE6"/>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81" d="100"/>
          <a:sy n="81" d="100"/>
        </p:scale>
        <p:origin x="725" y="53"/>
      </p:cViewPr>
      <p:guideLst>
        <p:guide pos="3840"/>
        <p:guide orient="horz" pos="2469"/>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2" Type="http://schemas.openxmlformats.org/officeDocument/2006/relationships/tags" Target="tags/tag61.xml"/><Relationship Id="rId21" Type="http://schemas.openxmlformats.org/officeDocument/2006/relationships/customXml" Target="../customXml/item3.xml"/><Relationship Id="rId20" Type="http://schemas.openxmlformats.org/officeDocument/2006/relationships/customXml" Target="../customXml/item2.xml"/><Relationship Id="rId2" Type="http://schemas.openxmlformats.org/officeDocument/2006/relationships/theme" Target="theme/theme1.xml"/><Relationship Id="rId19" Type="http://schemas.openxmlformats.org/officeDocument/2006/relationships/customXml" Target="../customXml/item1.xml"/><Relationship Id="rId18" Type="http://schemas.openxmlformats.org/officeDocument/2006/relationships/commentAuthors" Target="commentAuthors.xml"/><Relationship Id="rId17" Type="http://schemas.openxmlformats.org/officeDocument/2006/relationships/tableStyles" Target="tableStyles.xml"/><Relationship Id="rId16" Type="http://schemas.openxmlformats.org/officeDocument/2006/relationships/viewProps" Target="viewProps.xml"/><Relationship Id="rId15" Type="http://schemas.openxmlformats.org/officeDocument/2006/relationships/presProps" Target="presProps.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iagrams/_rels/data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image" Target="../media/image18.png"/></Relationships>
</file>

<file path=ppt/diagrams/_rels/drawing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image" Target="../media/image18.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39FAA397-4B96-4B81-843B-DF9023C68381}" type="doc">
      <dgm:prSet loTypeId="urn:microsoft.com/office/officeart/2005/8/layout/bList2" loCatId="picture" qsTypeId="urn:microsoft.com/office/officeart/2005/8/quickstyle/3d1" qsCatId="3D" csTypeId="urn:microsoft.com/office/officeart/2005/8/colors/colorful4" csCatId="colorful" phldr="1"/>
      <dgm:spPr/>
      <dgm:t>
        <a:bodyPr/>
        <a:lstStyle/>
        <a:p>
          <a:endParaRPr lang="zh-CN" altLang="en-US"/>
        </a:p>
      </dgm:t>
    </dgm:pt>
    <dgm:pt modelId="{A36F118A-2A79-43E7-8A6A-F6CDF689C9F8}">
      <dgm:prSet phldrT="[文本]" custT="1"/>
      <dgm:spPr>
        <a:solidFill>
          <a:schemeClr val="accent2"/>
        </a:solidFill>
      </dgm:spPr>
      <dgm:t>
        <a:bodyPr/>
        <a:lstStyle/>
        <a:p>
          <a:pPr>
            <a:lnSpc>
              <a:spcPct val="100000"/>
            </a:lnSpc>
            <a:spcAft>
              <a:spcPts val="0"/>
            </a:spcAft>
          </a:pPr>
          <a:r>
            <a:rPr lang="zh-CN" altLang="en-US" sz="1200" b="1" dirty="0">
              <a:latin typeface="微软雅黑" panose="020B0503020204020204" pitchFamily="34" charset="-122"/>
              <a:ea typeface="微软雅黑" panose="020B0503020204020204" pitchFamily="34" charset="-122"/>
            </a:rPr>
            <a:t>猪源纤维蛋白粘合剂</a:t>
          </a:r>
          <a:endParaRPr lang="en-US" altLang="zh-CN" sz="1200" b="1" dirty="0">
            <a:latin typeface="微软雅黑" panose="020B0503020204020204" pitchFamily="34" charset="-122"/>
            <a:ea typeface="微软雅黑" panose="020B0503020204020204" pitchFamily="34" charset="-122"/>
          </a:endParaRPr>
        </a:p>
        <a:p>
          <a:pPr>
            <a:lnSpc>
              <a:spcPct val="100000"/>
            </a:lnSpc>
            <a:spcAft>
              <a:spcPts val="0"/>
            </a:spcAft>
          </a:pPr>
          <a:r>
            <a:rPr lang="zh-CN" altLang="en-US" sz="1200" b="1" dirty="0">
              <a:latin typeface="微软雅黑" panose="020B0503020204020204" pitchFamily="34" charset="-122"/>
              <a:ea typeface="微软雅黑" panose="020B0503020204020204" pitchFamily="34" charset="-122"/>
            </a:rPr>
            <a:t>（猪全血原料）</a:t>
          </a:r>
        </a:p>
      </dgm:t>
    </dgm:pt>
    <dgm:pt modelId="{5C68F061-8B8F-4D8F-91BA-3F9D28267360}" cxnId="{78365418-DC4A-4DA4-9EC7-D6600A762874}"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97D4452A-47E7-40B3-9C59-E7868AE07B8A}" cxnId="{78365418-DC4A-4DA4-9EC7-D6600A762874}"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DDC5C7EC-F60C-47ED-B557-3F18F25F32A4}">
      <dgm:prSet phldrT="[文本]" custT="1">
        <dgm:style>
          <a:lnRef idx="2">
            <a:schemeClr val="accent5"/>
          </a:lnRef>
          <a:fillRef idx="1">
            <a:schemeClr val="lt1"/>
          </a:fillRef>
          <a:effectRef idx="0">
            <a:schemeClr val="accent5"/>
          </a:effectRef>
          <a:fontRef idx="minor">
            <a:schemeClr val="dk1"/>
          </a:fontRef>
        </dgm:style>
      </dgm:prSet>
      <dgm:spPr/>
      <dgm:t>
        <a:bodyPr/>
        <a:lstStyle/>
        <a:p>
          <a:r>
            <a:rPr lang="zh-CN" altLang="en-US" sz="1200" b="1" dirty="0">
              <a:latin typeface="微软雅黑" panose="020B0503020204020204" pitchFamily="34" charset="-122"/>
              <a:ea typeface="微软雅黑" panose="020B0503020204020204" pitchFamily="34" charset="-122"/>
            </a:rPr>
            <a:t>猪纤维蛋白粘合剂</a:t>
          </a:r>
          <a:endParaRPr lang="en-US" altLang="zh-CN" sz="1200" b="1" dirty="0">
            <a:latin typeface="微软雅黑" panose="020B0503020204020204" pitchFamily="34" charset="-122"/>
            <a:ea typeface="微软雅黑" panose="020B0503020204020204" pitchFamily="34" charset="-122"/>
          </a:endParaRPr>
        </a:p>
        <a:p>
          <a:r>
            <a:rPr lang="zh-CN" altLang="en-US" sz="1200" b="1" dirty="0">
              <a:latin typeface="微软雅黑" panose="020B0503020204020204" pitchFamily="34" charset="-122"/>
              <a:ea typeface="微软雅黑" panose="020B0503020204020204" pitchFamily="34" charset="-122"/>
            </a:rPr>
            <a:t>（猪单采血浆原料）</a:t>
          </a:r>
        </a:p>
      </dgm:t>
    </dgm:pt>
    <dgm:pt modelId="{C3C46D1E-E55F-408E-B70A-180BF1127C27}" cxnId="{1AB40CC6-58C9-453D-A0CB-97579679729C}"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0166D651-D8A7-4BB3-8A27-8C231E48D211}" cxnId="{1AB40CC6-58C9-453D-A0CB-97579679729C}"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1062C559-B58F-4431-9D25-5B58648809A8}">
      <dgm:prSet phldrT="[文本]" custT="1"/>
      <dgm:spPr/>
      <dgm:t>
        <a:bodyPr/>
        <a:lstStyle/>
        <a:p>
          <a:r>
            <a:rPr lang="zh-CN" altLang="en-US" sz="1200" dirty="0">
              <a:latin typeface="微软雅黑" panose="020B0503020204020204" pitchFamily="34" charset="-122"/>
              <a:ea typeface="微软雅黑" panose="020B0503020204020204" pitchFamily="34" charset="-122"/>
            </a:rPr>
            <a:t>单采血浆，密闭包装，追溯方便</a:t>
          </a:r>
        </a:p>
      </dgm:t>
    </dgm:pt>
    <dgm:pt modelId="{1BF123D5-0542-4B39-BB82-8F79ABEC967D}" cxnId="{AA8518DF-E91D-4F95-BDDB-2EE450A34921}"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7000F995-741C-41A3-A8E7-64E413DB5BA2}" cxnId="{AA8518DF-E91D-4F95-BDDB-2EE450A34921}"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6F56F00-40AC-4700-AD4B-E98EEBC83FC2}">
      <dgm:prSet phldrT="[文本]" custT="1"/>
      <dgm:spPr>
        <a:solidFill>
          <a:schemeClr val="accent2"/>
        </a:solidFill>
      </dgm:spPr>
      <dgm:t>
        <a:bodyPr/>
        <a:lstStyle/>
        <a:p>
          <a:endParaRPr lang="zh-CN" altLang="en-US" sz="1200" dirty="0">
            <a:latin typeface="微软雅黑" panose="020B0503020204020204" pitchFamily="34" charset="-122"/>
            <a:ea typeface="微软雅黑" panose="020B0503020204020204" pitchFamily="34" charset="-122"/>
          </a:endParaRPr>
        </a:p>
      </dgm:t>
    </dgm:pt>
    <dgm:pt modelId="{F446F5EA-0672-46A9-B3DF-BD512A6501F0}" cxnId="{7C340822-7A9A-4B7C-B1FB-7E6F490851CB}"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74C02D14-68D9-4AAF-95C5-DF7A065A565E}" cxnId="{7C340822-7A9A-4B7C-B1FB-7E6F490851CB}"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D8F267AB-0F23-437D-A4AD-962953E00648}">
      <dgm:prSet phldrT="[文本]" custT="1"/>
      <dgm:spPr>
        <a:solidFill>
          <a:schemeClr val="accent2"/>
        </a:solidFill>
      </dgm:spPr>
      <dgm:t>
        <a:bodyPr/>
        <a:lstStyle/>
        <a:p>
          <a:r>
            <a:rPr lang="zh-CN" altLang="en-US" sz="1200" dirty="0">
              <a:solidFill>
                <a:schemeClr val="bg1"/>
              </a:solidFill>
              <a:latin typeface="微软雅黑" panose="020B0503020204020204" pitchFamily="34" charset="-122"/>
              <a:ea typeface="微软雅黑" panose="020B0503020204020204" pitchFamily="34" charset="-122"/>
            </a:rPr>
            <a:t>成品纤维蛋白原纯度≥</a:t>
          </a:r>
          <a:r>
            <a:rPr lang="en-US" altLang="zh-CN" sz="1200" dirty="0">
              <a:solidFill>
                <a:schemeClr val="bg1"/>
              </a:solidFill>
              <a:latin typeface="微软雅黑" panose="020B0503020204020204" pitchFamily="34" charset="-122"/>
              <a:ea typeface="微软雅黑" panose="020B0503020204020204" pitchFamily="34" charset="-122"/>
            </a:rPr>
            <a:t>45%</a:t>
          </a:r>
          <a:endParaRPr lang="zh-CN" altLang="en-US" sz="1200" dirty="0">
            <a:solidFill>
              <a:schemeClr val="bg1"/>
            </a:solidFill>
            <a:latin typeface="微软雅黑" panose="020B0503020204020204" pitchFamily="34" charset="-122"/>
            <a:ea typeface="微软雅黑" panose="020B0503020204020204" pitchFamily="34" charset="-122"/>
          </a:endParaRPr>
        </a:p>
      </dgm:t>
    </dgm:pt>
    <dgm:pt modelId="{B9DAD644-A0AB-4CBD-B1B9-1F27CFAEB80E}" cxnId="{E4E49476-6BB4-420B-9C54-629BCAC0840E}"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8B19EF10-7273-43A8-9A18-815448F5C797}" cxnId="{E4E49476-6BB4-420B-9C54-629BCAC0840E}"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0D7385C9-9AE4-4407-9335-97A29160A50F}">
      <dgm:prSet phldrT="[文本]" custT="1"/>
      <dgm:spPr/>
      <dgm:t>
        <a:bodyPr/>
        <a:lstStyle/>
        <a:p>
          <a:r>
            <a:rPr lang="zh-CN" altLang="en-US" sz="1200" dirty="0">
              <a:latin typeface="微软雅黑" panose="020B0503020204020204" pitchFamily="34" charset="-122"/>
              <a:ea typeface="微软雅黑" panose="020B0503020204020204" pitchFamily="34" charset="-122"/>
            </a:rPr>
            <a:t>成品纤维蛋白原纯度≥</a:t>
          </a:r>
          <a:r>
            <a:rPr lang="en-US" altLang="zh-CN" sz="1200" dirty="0">
              <a:latin typeface="微软雅黑" panose="020B0503020204020204" pitchFamily="34" charset="-122"/>
              <a:ea typeface="微软雅黑" panose="020B0503020204020204" pitchFamily="34" charset="-122"/>
            </a:rPr>
            <a:t>70%</a:t>
          </a:r>
          <a:endParaRPr lang="zh-CN" altLang="en-US" sz="1200" dirty="0">
            <a:latin typeface="微软雅黑" panose="020B0503020204020204" pitchFamily="34" charset="-122"/>
            <a:ea typeface="微软雅黑" panose="020B0503020204020204" pitchFamily="34" charset="-122"/>
          </a:endParaRPr>
        </a:p>
      </dgm:t>
    </dgm:pt>
    <dgm:pt modelId="{5863CBB7-DD1A-4D88-993A-83EB669F39C8}" cxnId="{513DD948-920B-497E-ADFE-F5FFF1CAF41A}"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E9B39FC7-804A-438C-A546-88CABAA8A863}" cxnId="{513DD948-920B-497E-ADFE-F5FFF1CAF41A}"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9B2B7FEA-5B63-4BAA-BAC5-67E193EFCDE2}">
      <dgm:prSet phldrT="[文本]" custT="1"/>
      <dgm:spPr>
        <a:solidFill>
          <a:schemeClr val="accent2"/>
        </a:solidFill>
      </dgm:spPr>
      <dgm:t>
        <a:bodyPr/>
        <a:lstStyle/>
        <a:p>
          <a:r>
            <a:rPr lang="zh-CN" altLang="en-US" sz="1200" dirty="0">
              <a:solidFill>
                <a:schemeClr val="bg1"/>
              </a:solidFill>
              <a:latin typeface="微软雅黑" panose="020B0503020204020204" pitchFamily="34" charset="-122"/>
              <a:ea typeface="微软雅黑" panose="020B0503020204020204" pitchFamily="34" charset="-122"/>
            </a:rPr>
            <a:t>凝血酶比活性≥</a:t>
          </a:r>
          <a:r>
            <a:rPr lang="en-US" altLang="zh-CN" sz="1200" dirty="0">
              <a:solidFill>
                <a:schemeClr val="bg1"/>
              </a:solidFill>
              <a:latin typeface="微软雅黑" panose="020B0503020204020204" pitchFamily="34" charset="-122"/>
              <a:ea typeface="微软雅黑" panose="020B0503020204020204" pitchFamily="34" charset="-122"/>
            </a:rPr>
            <a:t>50 </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IU/mg</a:t>
          </a:r>
          <a:r>
            <a:rPr lang="zh-CN" altLang="en-US" sz="1200" dirty="0">
              <a:solidFill>
                <a:schemeClr val="bg1"/>
              </a:solidFill>
              <a:latin typeface="微软雅黑" panose="020B0503020204020204" pitchFamily="34" charset="-122"/>
              <a:ea typeface="微软雅黑" panose="020B0503020204020204" pitchFamily="34" charset="-122"/>
            </a:rPr>
            <a:t>）</a:t>
          </a:r>
        </a:p>
      </dgm:t>
    </dgm:pt>
    <dgm:pt modelId="{C300DCD3-FAF3-4300-B21D-2E1BD5046254}" cxnId="{32E7FE1A-884F-4AD5-925A-A678EB175A8A}"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6C3E618D-A207-4066-9193-7F6E7987BFCB}" cxnId="{32E7FE1A-884F-4AD5-925A-A678EB175A8A}"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DF4913E-3A95-4F40-AAF2-3385D22E5A02}">
      <dgm:prSet phldrT="[文本]" custT="1"/>
      <dgm:spPr/>
      <dgm:t>
        <a:bodyPr/>
        <a:lstStyle/>
        <a:p>
          <a:r>
            <a:rPr lang="zh-CN" altLang="en-US" sz="1200" dirty="0">
              <a:latin typeface="微软雅黑" panose="020B0503020204020204" pitchFamily="34" charset="-122"/>
              <a:ea typeface="微软雅黑" panose="020B0503020204020204" pitchFamily="34" charset="-122"/>
            </a:rPr>
            <a:t>凝血酶比活性≥</a:t>
          </a:r>
          <a:r>
            <a:rPr lang="en-US" altLang="zh-CN" sz="1200" dirty="0">
              <a:latin typeface="微软雅黑" panose="020B0503020204020204" pitchFamily="34" charset="-122"/>
              <a:ea typeface="微软雅黑" panose="020B0503020204020204" pitchFamily="34" charset="-122"/>
            </a:rPr>
            <a:t>500 </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IU/mg</a:t>
          </a:r>
          <a:r>
            <a:rPr lang="zh-CN" altLang="en-US" sz="1200" dirty="0">
              <a:latin typeface="微软雅黑" panose="020B0503020204020204" pitchFamily="34" charset="-122"/>
              <a:ea typeface="微软雅黑" panose="020B0503020204020204" pitchFamily="34" charset="-122"/>
            </a:rPr>
            <a:t>）</a:t>
          </a:r>
        </a:p>
      </dgm:t>
    </dgm:pt>
    <dgm:pt modelId="{25EEE169-4A1F-4046-B2BE-C3D643095104}" cxnId="{9F8A0A30-B256-4920-BE0A-6D80AD324832}"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E3E79E81-EB7A-4360-8255-9DD7031981AB}" cxnId="{9F8A0A30-B256-4920-BE0A-6D80AD324832}"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50383604-60DE-4CF7-A2CB-DC83B62878CD}">
      <dgm:prSet phldrT="[文本]" custT="1"/>
      <dgm:spPr>
        <a:solidFill>
          <a:schemeClr val="accent2"/>
        </a:solidFill>
      </dgm:spPr>
      <dgm:t>
        <a:bodyPr/>
        <a:lstStyle/>
        <a:p>
          <a:r>
            <a:rPr lang="zh-CN" altLang="en-US" sz="1200" dirty="0">
              <a:solidFill>
                <a:schemeClr val="bg1"/>
              </a:solidFill>
              <a:latin typeface="微软雅黑" panose="020B0503020204020204" pitchFamily="34" charset="-122"/>
              <a:ea typeface="微软雅黑" panose="020B0503020204020204" pitchFamily="34" charset="-122"/>
            </a:rPr>
            <a:t>聚山梨酯</a:t>
          </a:r>
          <a:r>
            <a:rPr lang="en-US" altLang="zh-CN" sz="1200" dirty="0">
              <a:solidFill>
                <a:schemeClr val="bg1"/>
              </a:solidFill>
              <a:latin typeface="微软雅黑" panose="020B0503020204020204" pitchFamily="34" charset="-122"/>
              <a:ea typeface="微软雅黑" panose="020B0503020204020204" pitchFamily="34" charset="-122"/>
            </a:rPr>
            <a:t>80</a:t>
          </a:r>
          <a:r>
            <a:rPr lang="zh-CN" altLang="en-US" sz="1200" dirty="0">
              <a:solidFill>
                <a:schemeClr val="bg1"/>
              </a:solidFill>
              <a:latin typeface="微软雅黑" panose="020B0503020204020204" pitchFamily="34" charset="-122"/>
              <a:ea typeface="微软雅黑" panose="020B0503020204020204" pitchFamily="34" charset="-122"/>
            </a:rPr>
            <a:t>残留</a:t>
          </a:r>
          <a:r>
            <a:rPr lang="en-US" altLang="zh-CN" sz="1200" dirty="0">
              <a:solidFill>
                <a:schemeClr val="bg1"/>
              </a:solidFill>
              <a:latin typeface="微软雅黑" panose="020B0503020204020204" pitchFamily="34" charset="-122"/>
              <a:ea typeface="微软雅黑" panose="020B0503020204020204" pitchFamily="34" charset="-122"/>
            </a:rPr>
            <a:t>200-300</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ug/ml</a:t>
          </a:r>
          <a:r>
            <a:rPr lang="zh-CN" altLang="en-US" sz="1200" dirty="0">
              <a:solidFill>
                <a:schemeClr val="bg1"/>
              </a:solidFill>
              <a:latin typeface="微软雅黑" panose="020B0503020204020204" pitchFamily="34" charset="-122"/>
              <a:ea typeface="微软雅黑" panose="020B0503020204020204" pitchFamily="34" charset="-122"/>
            </a:rPr>
            <a:t>）</a:t>
          </a:r>
        </a:p>
      </dgm:t>
    </dgm:pt>
    <dgm:pt modelId="{28C425B9-4CDF-4043-98FD-2F10B7DFC43D}" cxnId="{0C6E9344-6B35-4AB4-AE00-46E54B3F02FB}"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A816A95F-885F-4886-8FD8-C621CE035D57}" cxnId="{0C6E9344-6B35-4AB4-AE00-46E54B3F02FB}"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1DEB7C71-6C88-4B76-86D8-612C87A11597}">
      <dgm:prSet phldrT="[文本]" custT="1"/>
      <dgm:spPr/>
      <dgm:t>
        <a:bodyPr/>
        <a:lstStyle/>
        <a:p>
          <a:r>
            <a:rPr lang="zh-CN" altLang="en-US" sz="1200" dirty="0">
              <a:latin typeface="微软雅黑" panose="020B0503020204020204" pitchFamily="34" charset="-122"/>
              <a:ea typeface="微软雅黑" panose="020B0503020204020204" pitchFamily="34" charset="-122"/>
            </a:rPr>
            <a:t>聚山梨酯</a:t>
          </a:r>
          <a:r>
            <a:rPr lang="en-US" altLang="zh-CN" sz="1200" dirty="0">
              <a:latin typeface="微软雅黑" panose="020B0503020204020204" pitchFamily="34" charset="-122"/>
              <a:ea typeface="微软雅黑" panose="020B0503020204020204" pitchFamily="34" charset="-122"/>
            </a:rPr>
            <a:t>80</a:t>
          </a:r>
          <a:r>
            <a:rPr lang="zh-CN" altLang="en-US" sz="1200" dirty="0">
              <a:latin typeface="微软雅黑" panose="020B0503020204020204" pitchFamily="34" charset="-122"/>
              <a:ea typeface="微软雅黑" panose="020B0503020204020204" pitchFamily="34" charset="-122"/>
            </a:rPr>
            <a:t>残留≤</a:t>
          </a:r>
          <a:r>
            <a:rPr lang="en-US" altLang="zh-CN" sz="1200" dirty="0">
              <a:latin typeface="微软雅黑" panose="020B0503020204020204" pitchFamily="34" charset="-122"/>
              <a:ea typeface="微软雅黑" panose="020B0503020204020204" pitchFamily="34" charset="-122"/>
            </a:rPr>
            <a:t>100</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ug/ml</a:t>
          </a:r>
          <a:r>
            <a:rPr lang="zh-CN" altLang="en-US" sz="1200" dirty="0">
              <a:latin typeface="微软雅黑" panose="020B0503020204020204" pitchFamily="34" charset="-122"/>
              <a:ea typeface="微软雅黑" panose="020B0503020204020204" pitchFamily="34" charset="-122"/>
            </a:rPr>
            <a:t>）</a:t>
          </a:r>
        </a:p>
      </dgm:t>
    </dgm:pt>
    <dgm:pt modelId="{58D94DF3-13AD-44EB-BEAB-98046AD6A0AA}" cxnId="{8BF5227F-C3FC-46C8-9F10-DBABD8975C27}"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08A1FBEF-2A2F-4856-9AF2-786F5B8BC7CD}" cxnId="{8BF5227F-C3FC-46C8-9F10-DBABD8975C27}"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EC65831E-D893-4524-8339-1E1E1BA74AFC}">
      <dgm:prSet phldrT="[文本]" custT="1"/>
      <dgm:spPr>
        <a:solidFill>
          <a:schemeClr val="accent2"/>
        </a:solidFill>
      </dgm:spPr>
      <dgm:t>
        <a:bodyPr/>
        <a:lstStyle/>
        <a:p>
          <a:r>
            <a:rPr lang="zh-CN" altLang="en-US" sz="1200" dirty="0">
              <a:solidFill>
                <a:schemeClr val="bg1"/>
              </a:solidFill>
              <a:latin typeface="微软雅黑" panose="020B0503020204020204" pitchFamily="34" charset="-122"/>
              <a:ea typeface="微软雅黑" panose="020B0503020204020204" pitchFamily="34" charset="-122"/>
            </a:rPr>
            <a:t>微生物限度＜</a:t>
          </a:r>
          <a:r>
            <a:rPr lang="en-US" altLang="zh-CN" sz="1200" dirty="0">
              <a:solidFill>
                <a:schemeClr val="bg1"/>
              </a:solidFill>
              <a:latin typeface="微软雅黑" panose="020B0503020204020204" pitchFamily="34" charset="-122"/>
              <a:ea typeface="微软雅黑" panose="020B0503020204020204" pitchFamily="34" charset="-122"/>
            </a:rPr>
            <a:t>300cfu/ml</a:t>
          </a:r>
          <a:endParaRPr lang="zh-CN" altLang="en-US" sz="1200" dirty="0">
            <a:solidFill>
              <a:schemeClr val="bg1"/>
            </a:solidFill>
            <a:latin typeface="微软雅黑" panose="020B0503020204020204" pitchFamily="34" charset="-122"/>
            <a:ea typeface="微软雅黑" panose="020B0503020204020204" pitchFamily="34" charset="-122"/>
          </a:endParaRPr>
        </a:p>
      </dgm:t>
    </dgm:pt>
    <dgm:pt modelId="{C228E3B2-0AFA-49DE-9611-4B3D2F539DB7}" cxnId="{345382D4-2868-42F9-9E62-2CBEF2493EAF}"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46026893-A8A4-4289-A00F-DFE97DE77FAF}" cxnId="{345382D4-2868-42F9-9E62-2CBEF2493EAF}"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FA68C7E7-88A9-4E2C-8B06-12B3B0CCC4FD}">
      <dgm:prSet phldrT="[文本]" custT="1"/>
      <dgm:spPr/>
      <dgm:t>
        <a:bodyPr/>
        <a:lstStyle/>
        <a:p>
          <a:r>
            <a:rPr lang="zh-CN" altLang="en-US" sz="1200" dirty="0">
              <a:latin typeface="微软雅黑" panose="020B0503020204020204" pitchFamily="34" charset="-122"/>
              <a:ea typeface="微软雅黑" panose="020B0503020204020204" pitchFamily="34" charset="-122"/>
            </a:rPr>
            <a:t>微生物限度＜</a:t>
          </a:r>
          <a:r>
            <a:rPr lang="en-US" altLang="zh-CN" sz="1200" dirty="0">
              <a:latin typeface="微软雅黑" panose="020B0503020204020204" pitchFamily="34" charset="-122"/>
              <a:ea typeface="微软雅黑" panose="020B0503020204020204" pitchFamily="34" charset="-122"/>
            </a:rPr>
            <a:t>100cfu/ml</a:t>
          </a:r>
          <a:endParaRPr lang="zh-CN" altLang="en-US" sz="1200" dirty="0">
            <a:latin typeface="微软雅黑" panose="020B0503020204020204" pitchFamily="34" charset="-122"/>
            <a:ea typeface="微软雅黑" panose="020B0503020204020204" pitchFamily="34" charset="-122"/>
          </a:endParaRPr>
        </a:p>
      </dgm:t>
    </dgm:pt>
    <dgm:pt modelId="{E4442413-FBCB-47AE-BA66-886150E7479A}" cxnId="{8559238A-2145-4A01-9873-45C0810DF8E5}"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C567357-CF4A-4D0E-A1CA-E78002434552}" cxnId="{8559238A-2145-4A01-9873-45C0810DF8E5}"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1DB53E80-11E4-491A-910E-E71752B1736B}">
      <dgm:prSet phldrT="[文本]" custT="1"/>
      <dgm:spPr>
        <a:solidFill>
          <a:schemeClr val="accent2"/>
        </a:solidFill>
      </dgm:spPr>
      <dgm:t>
        <a:bodyPr/>
        <a:lstStyle/>
        <a:p>
          <a:r>
            <a:rPr lang="zh-CN" altLang="en-US" sz="1200" dirty="0">
              <a:solidFill>
                <a:schemeClr val="bg1"/>
              </a:solidFill>
              <a:latin typeface="微软雅黑" panose="020B0503020204020204" pitchFamily="34" charset="-122"/>
              <a:ea typeface="微软雅黑" panose="020B0503020204020204" pitchFamily="34" charset="-122"/>
            </a:rPr>
            <a:t>屠宰取血，猪血混装，不能追溯</a:t>
          </a:r>
        </a:p>
      </dgm:t>
    </dgm:pt>
    <dgm:pt modelId="{3D79C50B-041A-47AA-B063-4AD783323EDE}" cxnId="{DEEA5D87-1DCA-40AB-8392-FEF3AF7E0561}"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2FBFEBD2-DEE4-4AB9-A288-E01116E3B2C9}" cxnId="{DEEA5D87-1DCA-40AB-8392-FEF3AF7E0561}"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542DEA17-6B70-4DFB-AC85-4D19281D6D39}" type="pres">
      <dgm:prSet presAssocID="{39FAA397-4B96-4B81-843B-DF9023C68381}" presName="diagram" presStyleCnt="0">
        <dgm:presLayoutVars>
          <dgm:dir/>
          <dgm:animLvl val="lvl"/>
          <dgm:resizeHandles val="exact"/>
        </dgm:presLayoutVars>
      </dgm:prSet>
      <dgm:spPr/>
    </dgm:pt>
    <dgm:pt modelId="{EDD9B0C6-2C61-43E3-9177-5CDC849DC145}" type="pres">
      <dgm:prSet presAssocID="{A36F118A-2A79-43E7-8A6A-F6CDF689C9F8}" presName="compNode" presStyleCnt="0"/>
      <dgm:spPr/>
    </dgm:pt>
    <dgm:pt modelId="{17075927-4A43-4346-82C5-B4D8FD5577A2}" type="pres">
      <dgm:prSet presAssocID="{A36F118A-2A79-43E7-8A6A-F6CDF689C9F8}" presName="childRect" presStyleLbl="bgAcc1" presStyleIdx="0" presStyleCnt="2" custScaleX="122224">
        <dgm:presLayoutVars>
          <dgm:bulletEnabled val="1"/>
        </dgm:presLayoutVars>
      </dgm:prSet>
      <dgm:spPr/>
    </dgm:pt>
    <dgm:pt modelId="{CA84014D-7971-41E3-B405-CF4CC63E3712}" type="pres">
      <dgm:prSet presAssocID="{A36F118A-2A79-43E7-8A6A-F6CDF689C9F8}" presName="parentText" presStyleLbl="node1" presStyleIdx="0" presStyleCnt="0">
        <dgm:presLayoutVars>
          <dgm:chMax val="0"/>
          <dgm:bulletEnabled val="1"/>
        </dgm:presLayoutVars>
      </dgm:prSet>
      <dgm:spPr/>
    </dgm:pt>
    <dgm:pt modelId="{12FC1B1D-8053-4A8D-8942-22545F005F87}" type="pres">
      <dgm:prSet presAssocID="{A36F118A-2A79-43E7-8A6A-F6CDF689C9F8}" presName="parentRect" presStyleLbl="alignNode1" presStyleIdx="0" presStyleCnt="2" custScaleX="101004"/>
      <dgm:spPr/>
    </dgm:pt>
    <dgm:pt modelId="{7B286602-F3D8-41E7-A3FD-E0C7621E08BD}" type="pres">
      <dgm:prSet presAssocID="{A36F118A-2A79-43E7-8A6A-F6CDF689C9F8}" presName="adorn" presStyleLbl="fgAccFollowNode1" presStyleIdx="0" presStyleCnt="2"/>
      <dgm:spPr>
        <a:blipFill rotWithShape="1">
          <a:blip xmlns:r="http://schemas.openxmlformats.org/officeDocument/2006/relationships" r:embed="rId1"/>
          <a:stretch>
            <a:fillRect/>
          </a:stretch>
        </a:blipFill>
      </dgm:spPr>
    </dgm:pt>
    <dgm:pt modelId="{7D2D8D04-6251-4ECB-827A-29579091B156}" type="pres">
      <dgm:prSet presAssocID="{97D4452A-47E7-40B3-9C59-E7868AE07B8A}" presName="sibTrans" presStyleLbl="sibTrans2D1" presStyleIdx="0" presStyleCnt="0"/>
      <dgm:spPr/>
    </dgm:pt>
    <dgm:pt modelId="{E20386A4-4AD7-456F-A519-C8BEE3D4A93B}" type="pres">
      <dgm:prSet presAssocID="{DDC5C7EC-F60C-47ED-B557-3F18F25F32A4}" presName="compNode" presStyleCnt="0"/>
      <dgm:spPr/>
    </dgm:pt>
    <dgm:pt modelId="{76AA2BE5-73FE-410D-BC2C-8DF21ACABBCF}" type="pres">
      <dgm:prSet presAssocID="{DDC5C7EC-F60C-47ED-B557-3F18F25F32A4}" presName="childRect" presStyleLbl="bgAcc1" presStyleIdx="1" presStyleCnt="2" custScaleX="120818">
        <dgm:presLayoutVars>
          <dgm:bulletEnabled val="1"/>
        </dgm:presLayoutVars>
      </dgm:prSet>
      <dgm:spPr/>
    </dgm:pt>
    <dgm:pt modelId="{A222091A-C88C-4A85-9039-D88C6D15B255}" type="pres">
      <dgm:prSet presAssocID="{DDC5C7EC-F60C-47ED-B557-3F18F25F32A4}" presName="parentText" presStyleLbl="node1" presStyleIdx="0" presStyleCnt="0">
        <dgm:presLayoutVars>
          <dgm:chMax val="0"/>
          <dgm:bulletEnabled val="1"/>
        </dgm:presLayoutVars>
      </dgm:prSet>
      <dgm:spPr/>
    </dgm:pt>
    <dgm:pt modelId="{83B572D6-58E7-4DB6-B0BC-B14F666081DA}" type="pres">
      <dgm:prSet presAssocID="{DDC5C7EC-F60C-47ED-B557-3F18F25F32A4}" presName="parentRect" presStyleLbl="alignNode1" presStyleIdx="1" presStyleCnt="2" custScaleX="102231"/>
      <dgm:spPr/>
    </dgm:pt>
    <dgm:pt modelId="{956AFCF9-EFA0-4E51-B1EA-629B3DBA4229}" type="pres">
      <dgm:prSet presAssocID="{DDC5C7EC-F60C-47ED-B557-3F18F25F32A4}" presName="adorn" presStyleLbl="fgAccFollowNode1" presStyleIdx="1" presStyleCnt="2"/>
      <dgm:spPr>
        <a:blipFill rotWithShape="1">
          <a:blip xmlns:r="http://schemas.openxmlformats.org/officeDocument/2006/relationships" r:embed="rId2"/>
          <a:stretch>
            <a:fillRect/>
          </a:stretch>
        </a:blipFill>
      </dgm:spPr>
    </dgm:pt>
  </dgm:ptLst>
  <dgm:cxnLst>
    <dgm:cxn modelId="{78365418-DC4A-4DA4-9EC7-D6600A762874}" srcId="{39FAA397-4B96-4B81-843B-DF9023C68381}" destId="{A36F118A-2A79-43E7-8A6A-F6CDF689C9F8}" srcOrd="0" destOrd="0" parTransId="{5C68F061-8B8F-4D8F-91BA-3F9D28267360}" sibTransId="{97D4452A-47E7-40B3-9C59-E7868AE07B8A}"/>
    <dgm:cxn modelId="{9D0F4C1A-23D6-42DB-BBBC-527041605461}" type="presOf" srcId="{0D7385C9-9AE4-4407-9335-97A29160A50F}" destId="{76AA2BE5-73FE-410D-BC2C-8DF21ACABBCF}" srcOrd="0" destOrd="1" presId="urn:microsoft.com/office/officeart/2005/8/layout/bList2"/>
    <dgm:cxn modelId="{32E7FE1A-884F-4AD5-925A-A678EB175A8A}" srcId="{A36F118A-2A79-43E7-8A6A-F6CDF689C9F8}" destId="{9B2B7FEA-5B63-4BAA-BAC5-67E193EFCDE2}" srcOrd="2" destOrd="0" parTransId="{C300DCD3-FAF3-4300-B21D-2E1BD5046254}" sibTransId="{6C3E618D-A207-4066-9193-7F6E7987BFCB}"/>
    <dgm:cxn modelId="{7C340822-7A9A-4B7C-B1FB-7E6F490851CB}" srcId="{A36F118A-2A79-43E7-8A6A-F6CDF689C9F8}" destId="{C6F56F00-40AC-4700-AD4B-E98EEBC83FC2}" srcOrd="5" destOrd="0" parTransId="{F446F5EA-0672-46A9-B3DF-BD512A6501F0}" sibTransId="{74C02D14-68D9-4AAF-95C5-DF7A065A565E}"/>
    <dgm:cxn modelId="{26061723-6F1A-4303-BD63-A792110EB207}" type="presOf" srcId="{1DB53E80-11E4-491A-910E-E71752B1736B}" destId="{17075927-4A43-4346-82C5-B4D8FD5577A2}" srcOrd="0" destOrd="0" presId="urn:microsoft.com/office/officeart/2005/8/layout/bList2"/>
    <dgm:cxn modelId="{982C8B23-419B-4F9B-8336-9568EC71B084}" type="presOf" srcId="{97D4452A-47E7-40B3-9C59-E7868AE07B8A}" destId="{7D2D8D04-6251-4ECB-827A-29579091B156}" srcOrd="0" destOrd="0" presId="urn:microsoft.com/office/officeart/2005/8/layout/bList2"/>
    <dgm:cxn modelId="{B3740C29-7729-4025-A687-B6761767D166}" type="presOf" srcId="{C6F56F00-40AC-4700-AD4B-E98EEBC83FC2}" destId="{17075927-4A43-4346-82C5-B4D8FD5577A2}" srcOrd="0" destOrd="5" presId="urn:microsoft.com/office/officeart/2005/8/layout/bList2"/>
    <dgm:cxn modelId="{CC11E029-F359-49B9-B5D3-4E348D1E7FEA}" type="presOf" srcId="{A36F118A-2A79-43E7-8A6A-F6CDF689C9F8}" destId="{12FC1B1D-8053-4A8D-8942-22545F005F87}" srcOrd="1" destOrd="0" presId="urn:microsoft.com/office/officeart/2005/8/layout/bList2"/>
    <dgm:cxn modelId="{9F8A0A30-B256-4920-BE0A-6D80AD324832}" srcId="{DDC5C7EC-F60C-47ED-B557-3F18F25F32A4}" destId="{CDF4913E-3A95-4F40-AAF2-3385D22E5A02}" srcOrd="2" destOrd="0" parTransId="{25EEE169-4A1F-4046-B2BE-C3D643095104}" sibTransId="{E3E79E81-EB7A-4360-8255-9DD7031981AB}"/>
    <dgm:cxn modelId="{EF691630-BF0E-4907-B69A-945E642001F8}" type="presOf" srcId="{39FAA397-4B96-4B81-843B-DF9023C68381}" destId="{542DEA17-6B70-4DFB-AC85-4D19281D6D39}" srcOrd="0" destOrd="0" presId="urn:microsoft.com/office/officeart/2005/8/layout/bList2"/>
    <dgm:cxn modelId="{AB79A730-1F9B-479A-8C53-E62262497BE9}" type="presOf" srcId="{50383604-60DE-4CF7-A2CB-DC83B62878CD}" destId="{17075927-4A43-4346-82C5-B4D8FD5577A2}" srcOrd="0" destOrd="3" presId="urn:microsoft.com/office/officeart/2005/8/layout/bList2"/>
    <dgm:cxn modelId="{BB13235C-2EE2-408A-8BB0-D4053D28648C}" type="presOf" srcId="{CDF4913E-3A95-4F40-AAF2-3385D22E5A02}" destId="{76AA2BE5-73FE-410D-BC2C-8DF21ACABBCF}" srcOrd="0" destOrd="2" presId="urn:microsoft.com/office/officeart/2005/8/layout/bList2"/>
    <dgm:cxn modelId="{0C6E9344-6B35-4AB4-AE00-46E54B3F02FB}" srcId="{A36F118A-2A79-43E7-8A6A-F6CDF689C9F8}" destId="{50383604-60DE-4CF7-A2CB-DC83B62878CD}" srcOrd="3" destOrd="0" parTransId="{28C425B9-4CDF-4043-98FD-2F10B7DFC43D}" sibTransId="{A816A95F-885F-4886-8FD8-C621CE035D57}"/>
    <dgm:cxn modelId="{513DD948-920B-497E-ADFE-F5FFF1CAF41A}" srcId="{DDC5C7EC-F60C-47ED-B557-3F18F25F32A4}" destId="{0D7385C9-9AE4-4407-9335-97A29160A50F}" srcOrd="1" destOrd="0" parTransId="{5863CBB7-DD1A-4D88-993A-83EB669F39C8}" sibTransId="{E9B39FC7-804A-438C-A546-88CABAA8A863}"/>
    <dgm:cxn modelId="{1AEC2F69-483D-4232-8409-E8941532CD31}" type="presOf" srcId="{FA68C7E7-88A9-4E2C-8B06-12B3B0CCC4FD}" destId="{76AA2BE5-73FE-410D-BC2C-8DF21ACABBCF}" srcOrd="0" destOrd="4" presId="urn:microsoft.com/office/officeart/2005/8/layout/bList2"/>
    <dgm:cxn modelId="{6084D275-0E4C-4029-81D6-B1177C89C9CC}" type="presOf" srcId="{1062C559-B58F-4431-9D25-5B58648809A8}" destId="{76AA2BE5-73FE-410D-BC2C-8DF21ACABBCF}" srcOrd="0" destOrd="0" presId="urn:microsoft.com/office/officeart/2005/8/layout/bList2"/>
    <dgm:cxn modelId="{E4E49476-6BB4-420B-9C54-629BCAC0840E}" srcId="{A36F118A-2A79-43E7-8A6A-F6CDF689C9F8}" destId="{D8F267AB-0F23-437D-A4AD-962953E00648}" srcOrd="1" destOrd="0" parTransId="{B9DAD644-A0AB-4CBD-B1B9-1F27CFAEB80E}" sibTransId="{8B19EF10-7273-43A8-9A18-815448F5C797}"/>
    <dgm:cxn modelId="{8BF5227F-C3FC-46C8-9F10-DBABD8975C27}" srcId="{DDC5C7EC-F60C-47ED-B557-3F18F25F32A4}" destId="{1DEB7C71-6C88-4B76-86D8-612C87A11597}" srcOrd="3" destOrd="0" parTransId="{58D94DF3-13AD-44EB-BEAB-98046AD6A0AA}" sibTransId="{08A1FBEF-2A2F-4856-9AF2-786F5B8BC7CD}"/>
    <dgm:cxn modelId="{87C5CB86-8466-47EB-8B0A-5E45D1332D50}" type="presOf" srcId="{A36F118A-2A79-43E7-8A6A-F6CDF689C9F8}" destId="{CA84014D-7971-41E3-B405-CF4CC63E3712}" srcOrd="0" destOrd="0" presId="urn:microsoft.com/office/officeart/2005/8/layout/bList2"/>
    <dgm:cxn modelId="{DEEA5D87-1DCA-40AB-8392-FEF3AF7E0561}" srcId="{A36F118A-2A79-43E7-8A6A-F6CDF689C9F8}" destId="{1DB53E80-11E4-491A-910E-E71752B1736B}" srcOrd="0" destOrd="0" parTransId="{2FBFEBD2-DEE4-4AB9-A288-E01116E3B2C9}" sibTransId="{3D79C50B-041A-47AA-B063-4AD783323EDE}"/>
    <dgm:cxn modelId="{8559238A-2145-4A01-9873-45C0810DF8E5}" srcId="{DDC5C7EC-F60C-47ED-B557-3F18F25F32A4}" destId="{FA68C7E7-88A9-4E2C-8B06-12B3B0CCC4FD}" srcOrd="4" destOrd="0" parTransId="{E4442413-FBCB-47AE-BA66-886150E7479A}" sibTransId="{CC567357-CF4A-4D0E-A1CA-E78002434552}"/>
    <dgm:cxn modelId="{3B8EA28A-B818-4169-BCAC-8B80564C60A1}" type="presOf" srcId="{1DEB7C71-6C88-4B76-86D8-612C87A11597}" destId="{76AA2BE5-73FE-410D-BC2C-8DF21ACABBCF}" srcOrd="0" destOrd="3" presId="urn:microsoft.com/office/officeart/2005/8/layout/bList2"/>
    <dgm:cxn modelId="{97C64EBD-E8BD-4F78-938D-D9547DC67D08}" type="presOf" srcId="{EC65831E-D893-4524-8339-1E1E1BA74AFC}" destId="{17075927-4A43-4346-82C5-B4D8FD5577A2}" srcOrd="0" destOrd="4" presId="urn:microsoft.com/office/officeart/2005/8/layout/bList2"/>
    <dgm:cxn modelId="{1AB40CC6-58C9-453D-A0CB-97579679729C}" srcId="{39FAA397-4B96-4B81-843B-DF9023C68381}" destId="{DDC5C7EC-F60C-47ED-B557-3F18F25F32A4}" srcOrd="1" destOrd="0" parTransId="{C3C46D1E-E55F-408E-B70A-180BF1127C27}" sibTransId="{0166D651-D8A7-4BB3-8A27-8C231E48D211}"/>
    <dgm:cxn modelId="{4A592FC8-22E1-4D12-9D3D-1D5839CF6249}" type="presOf" srcId="{DDC5C7EC-F60C-47ED-B557-3F18F25F32A4}" destId="{A222091A-C88C-4A85-9039-D88C6D15B255}" srcOrd="0" destOrd="0" presId="urn:microsoft.com/office/officeart/2005/8/layout/bList2"/>
    <dgm:cxn modelId="{58725DCB-2119-40A7-A838-7B637008D0B8}" type="presOf" srcId="{9B2B7FEA-5B63-4BAA-BAC5-67E193EFCDE2}" destId="{17075927-4A43-4346-82C5-B4D8FD5577A2}" srcOrd="0" destOrd="2" presId="urn:microsoft.com/office/officeart/2005/8/layout/bList2"/>
    <dgm:cxn modelId="{B2F205CE-541E-4B2F-822E-24C0CC08E998}" type="presOf" srcId="{D8F267AB-0F23-437D-A4AD-962953E00648}" destId="{17075927-4A43-4346-82C5-B4D8FD5577A2}" srcOrd="0" destOrd="1" presId="urn:microsoft.com/office/officeart/2005/8/layout/bList2"/>
    <dgm:cxn modelId="{345382D4-2868-42F9-9E62-2CBEF2493EAF}" srcId="{A36F118A-2A79-43E7-8A6A-F6CDF689C9F8}" destId="{EC65831E-D893-4524-8339-1E1E1BA74AFC}" srcOrd="4" destOrd="0" parTransId="{C228E3B2-0AFA-49DE-9611-4B3D2F539DB7}" sibTransId="{46026893-A8A4-4289-A00F-DFE97DE77FAF}"/>
    <dgm:cxn modelId="{AA8518DF-E91D-4F95-BDDB-2EE450A34921}" srcId="{DDC5C7EC-F60C-47ED-B557-3F18F25F32A4}" destId="{1062C559-B58F-4431-9D25-5B58648809A8}" srcOrd="0" destOrd="0" parTransId="{1BF123D5-0542-4B39-BB82-8F79ABEC967D}" sibTransId="{7000F995-741C-41A3-A8E7-64E413DB5BA2}"/>
    <dgm:cxn modelId="{0BB1A0F4-C337-4FB8-9278-00B2B5ECDBB5}" type="presOf" srcId="{DDC5C7EC-F60C-47ED-B557-3F18F25F32A4}" destId="{83B572D6-58E7-4DB6-B0BC-B14F666081DA}" srcOrd="1" destOrd="0" presId="urn:microsoft.com/office/officeart/2005/8/layout/bList2"/>
    <dgm:cxn modelId="{7DE32FE7-04A9-4C03-AA6E-053AF09087C8}" type="presParOf" srcId="{542DEA17-6B70-4DFB-AC85-4D19281D6D39}" destId="{EDD9B0C6-2C61-43E3-9177-5CDC849DC145}" srcOrd="0" destOrd="0" presId="urn:microsoft.com/office/officeart/2005/8/layout/bList2"/>
    <dgm:cxn modelId="{057B2867-790A-4206-9356-C0B92F810D8F}" type="presParOf" srcId="{EDD9B0C6-2C61-43E3-9177-5CDC849DC145}" destId="{17075927-4A43-4346-82C5-B4D8FD5577A2}" srcOrd="0" destOrd="0" presId="urn:microsoft.com/office/officeart/2005/8/layout/bList2"/>
    <dgm:cxn modelId="{F654E4E3-A8FD-4552-837A-591B807638E6}" type="presParOf" srcId="{EDD9B0C6-2C61-43E3-9177-5CDC849DC145}" destId="{CA84014D-7971-41E3-B405-CF4CC63E3712}" srcOrd="1" destOrd="0" presId="urn:microsoft.com/office/officeart/2005/8/layout/bList2"/>
    <dgm:cxn modelId="{A819256C-3951-4D6F-842A-E3A90EB67CC5}" type="presParOf" srcId="{EDD9B0C6-2C61-43E3-9177-5CDC849DC145}" destId="{12FC1B1D-8053-4A8D-8942-22545F005F87}" srcOrd="2" destOrd="0" presId="urn:microsoft.com/office/officeart/2005/8/layout/bList2"/>
    <dgm:cxn modelId="{E4D19F24-039C-49E9-B78A-0CA57C6D7FC5}" type="presParOf" srcId="{EDD9B0C6-2C61-43E3-9177-5CDC849DC145}" destId="{7B286602-F3D8-41E7-A3FD-E0C7621E08BD}" srcOrd="3" destOrd="0" presId="urn:microsoft.com/office/officeart/2005/8/layout/bList2"/>
    <dgm:cxn modelId="{23D16822-9446-4733-B48C-D6528E008B22}" type="presParOf" srcId="{542DEA17-6B70-4DFB-AC85-4D19281D6D39}" destId="{7D2D8D04-6251-4ECB-827A-29579091B156}" srcOrd="1" destOrd="0" presId="urn:microsoft.com/office/officeart/2005/8/layout/bList2"/>
    <dgm:cxn modelId="{BF716667-7B39-44C9-ADDF-1D1FF3334515}" type="presParOf" srcId="{542DEA17-6B70-4DFB-AC85-4D19281D6D39}" destId="{E20386A4-4AD7-456F-A519-C8BEE3D4A93B}" srcOrd="2" destOrd="0" presId="urn:microsoft.com/office/officeart/2005/8/layout/bList2"/>
    <dgm:cxn modelId="{5407408C-C55F-45F8-B4AA-939D5E455E0D}" type="presParOf" srcId="{E20386A4-4AD7-456F-A519-C8BEE3D4A93B}" destId="{76AA2BE5-73FE-410D-BC2C-8DF21ACABBCF}" srcOrd="0" destOrd="0" presId="urn:microsoft.com/office/officeart/2005/8/layout/bList2"/>
    <dgm:cxn modelId="{6EA9EE30-0DDA-4380-97A7-F0CBAA7F2A78}" type="presParOf" srcId="{E20386A4-4AD7-456F-A519-C8BEE3D4A93B}" destId="{A222091A-C88C-4A85-9039-D88C6D15B255}" srcOrd="1" destOrd="0" presId="urn:microsoft.com/office/officeart/2005/8/layout/bList2"/>
    <dgm:cxn modelId="{B1A6474D-3C83-45C3-BAC0-370B371F9F48}" type="presParOf" srcId="{E20386A4-4AD7-456F-A519-C8BEE3D4A93B}" destId="{83B572D6-58E7-4DB6-B0BC-B14F666081DA}" srcOrd="2" destOrd="0" presId="urn:microsoft.com/office/officeart/2005/8/layout/bList2"/>
    <dgm:cxn modelId="{1E29E81F-122E-44B0-8B57-A6639C5FD80D}" type="presParOf" srcId="{E20386A4-4AD7-456F-A519-C8BEE3D4A93B}" destId="{956AFCF9-EFA0-4E51-B1EA-629B3DBA4229}" srcOrd="3" destOrd="0" presId="urn:microsoft.com/office/officeart/2005/8/layout/bList2"/>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5552739" cy="3465053"/>
        <a:chOff x="0" y="0"/>
        <a:chExt cx="5552739" cy="3465053"/>
      </a:xfrm>
    </dsp:grpSpPr>
    <dsp:sp modelId="{17075927-4A43-4346-82C5-B4D8FD5577A2}">
      <dsp:nvSpPr>
        <dsp:cNvPr id="3" name="同侧圆角矩形 2"/>
        <dsp:cNvSpPr/>
      </dsp:nvSpPr>
      <dsp:spPr bwMode="white">
        <a:xfrm>
          <a:off x="37" y="316375"/>
          <a:ext cx="2465206" cy="1840997"/>
        </a:xfrm>
        <a:prstGeom prst="round2SameRect">
          <a:avLst>
            <a:gd name="adj1" fmla="val 8000"/>
            <a:gd name="adj2" fmla="val 0"/>
          </a:avLst>
        </a:prstGeom>
        <a:solidFill>
          <a:schemeClr val="accent2"/>
        </a:solidFill>
        <a:sp3d z="-190500" extrusionH="12700" prstMaterial="plastic">
          <a:bevelT w="50800" h="50800"/>
        </a:sp3d>
      </dsp:spPr>
      <dsp:style>
        <a:lnRef idx="1">
          <a:schemeClr val="accent4">
            <a:hueOff val="0"/>
            <a:satOff val="0"/>
            <a:lumOff val="0"/>
            <a:alpha val="100000"/>
          </a:schemeClr>
        </a:lnRef>
        <a:fillRef idx="1">
          <a:schemeClr val="lt1">
            <a:alpha val="90000"/>
          </a:schemeClr>
        </a:fillRef>
        <a:effectRef idx="2">
          <a:scrgbClr r="0" g="0" b="0"/>
        </a:effectRef>
        <a:fontRef idx="minor"/>
      </dsp:style>
      <dsp:txBody>
        <a:bodyPr lIns="15240" tIns="45719" rIns="15240" bIns="15240" anchor="t"/>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14300" lvl="1" indent="-114300">
            <a:lnSpc>
              <a:spcPct val="100000"/>
            </a:lnSpc>
            <a:spcBef>
              <a:spcPct val="0"/>
            </a:spcBef>
            <a:spcAft>
              <a:spcPct val="15000"/>
            </a:spcAft>
            <a:buChar char="•"/>
          </a:pPr>
          <a:r>
            <a:rPr lang="zh-CN" altLang="en-US" sz="1200" dirty="0">
              <a:solidFill>
                <a:schemeClr val="bg1"/>
              </a:solidFill>
              <a:latin typeface="微软雅黑" panose="020B0503020204020204" pitchFamily="34" charset="-122"/>
              <a:ea typeface="微软雅黑" panose="020B0503020204020204" pitchFamily="34" charset="-122"/>
            </a:rPr>
            <a:t>屠宰取血，猪血混装，不能追溯</a:t>
          </a:r>
          <a:endParaRPr lang="zh-CN" altLang="en-US" sz="1200" dirty="0">
            <a:solidFill>
              <a:schemeClr val="bg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bg1"/>
              </a:solidFill>
              <a:latin typeface="微软雅黑" panose="020B0503020204020204" pitchFamily="34" charset="-122"/>
              <a:ea typeface="微软雅黑" panose="020B0503020204020204" pitchFamily="34" charset="-122"/>
            </a:rPr>
            <a:t>成品纤维蛋白原纯度≥</a:t>
          </a:r>
          <a:r>
            <a:rPr lang="en-US" altLang="zh-CN" sz="1200" dirty="0">
              <a:solidFill>
                <a:schemeClr val="bg1"/>
              </a:solidFill>
              <a:latin typeface="微软雅黑" panose="020B0503020204020204" pitchFamily="34" charset="-122"/>
              <a:ea typeface="微软雅黑" panose="020B0503020204020204" pitchFamily="34" charset="-122"/>
            </a:rPr>
            <a:t>45%</a:t>
          </a:r>
          <a:endParaRPr lang="zh-CN" altLang="en-US" sz="1200" dirty="0">
            <a:solidFill>
              <a:schemeClr val="bg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bg1"/>
              </a:solidFill>
              <a:latin typeface="微软雅黑" panose="020B0503020204020204" pitchFamily="34" charset="-122"/>
              <a:ea typeface="微软雅黑" panose="020B0503020204020204" pitchFamily="34" charset="-122"/>
            </a:rPr>
            <a:t>凝血酶比活性≥</a:t>
          </a:r>
          <a:r>
            <a:rPr lang="en-US" altLang="zh-CN" sz="1200" dirty="0">
              <a:solidFill>
                <a:schemeClr val="bg1"/>
              </a:solidFill>
              <a:latin typeface="微软雅黑" panose="020B0503020204020204" pitchFamily="34" charset="-122"/>
              <a:ea typeface="微软雅黑" panose="020B0503020204020204" pitchFamily="34" charset="-122"/>
            </a:rPr>
            <a:t>50 </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IU/mg</a:t>
          </a:r>
          <a:r>
            <a:rPr lang="zh-CN" altLang="en-US" sz="1200" dirty="0">
              <a:solidFill>
                <a:schemeClr val="bg1"/>
              </a:solidFill>
              <a:latin typeface="微软雅黑" panose="020B0503020204020204" pitchFamily="34" charset="-122"/>
              <a:ea typeface="微软雅黑" panose="020B0503020204020204" pitchFamily="34" charset="-122"/>
            </a:rPr>
            <a:t>）</a:t>
          </a:r>
          <a:endParaRPr lang="zh-CN" altLang="en-US" sz="1200" dirty="0">
            <a:solidFill>
              <a:schemeClr val="bg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bg1"/>
              </a:solidFill>
              <a:latin typeface="微软雅黑" panose="020B0503020204020204" pitchFamily="34" charset="-122"/>
              <a:ea typeface="微软雅黑" panose="020B0503020204020204" pitchFamily="34" charset="-122"/>
            </a:rPr>
            <a:t>聚山梨酯</a:t>
          </a:r>
          <a:r>
            <a:rPr lang="en-US" altLang="zh-CN" sz="1200" dirty="0">
              <a:solidFill>
                <a:schemeClr val="bg1"/>
              </a:solidFill>
              <a:latin typeface="微软雅黑" panose="020B0503020204020204" pitchFamily="34" charset="-122"/>
              <a:ea typeface="微软雅黑" panose="020B0503020204020204" pitchFamily="34" charset="-122"/>
            </a:rPr>
            <a:t>80</a:t>
          </a:r>
          <a:r>
            <a:rPr lang="zh-CN" altLang="en-US" sz="1200" dirty="0">
              <a:solidFill>
                <a:schemeClr val="bg1"/>
              </a:solidFill>
              <a:latin typeface="微软雅黑" panose="020B0503020204020204" pitchFamily="34" charset="-122"/>
              <a:ea typeface="微软雅黑" panose="020B0503020204020204" pitchFamily="34" charset="-122"/>
            </a:rPr>
            <a:t>残留</a:t>
          </a:r>
          <a:r>
            <a:rPr lang="en-US" altLang="zh-CN" sz="1200" dirty="0">
              <a:solidFill>
                <a:schemeClr val="bg1"/>
              </a:solidFill>
              <a:latin typeface="微软雅黑" panose="020B0503020204020204" pitchFamily="34" charset="-122"/>
              <a:ea typeface="微软雅黑" panose="020B0503020204020204" pitchFamily="34" charset="-122"/>
            </a:rPr>
            <a:t>200-300</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ug/ml</a:t>
          </a:r>
          <a:r>
            <a:rPr lang="zh-CN" altLang="en-US" sz="1200" dirty="0">
              <a:solidFill>
                <a:schemeClr val="bg1"/>
              </a:solidFill>
              <a:latin typeface="微软雅黑" panose="020B0503020204020204" pitchFamily="34" charset="-122"/>
              <a:ea typeface="微软雅黑" panose="020B0503020204020204" pitchFamily="34" charset="-122"/>
            </a:rPr>
            <a:t>）</a:t>
          </a:r>
          <a:endParaRPr lang="zh-CN" altLang="en-US" sz="1200" dirty="0">
            <a:solidFill>
              <a:schemeClr val="bg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bg1"/>
              </a:solidFill>
              <a:latin typeface="微软雅黑" panose="020B0503020204020204" pitchFamily="34" charset="-122"/>
              <a:ea typeface="微软雅黑" panose="020B0503020204020204" pitchFamily="34" charset="-122"/>
            </a:rPr>
            <a:t>微生物限度＜</a:t>
          </a:r>
          <a:r>
            <a:rPr lang="en-US" altLang="zh-CN" sz="1200" dirty="0">
              <a:solidFill>
                <a:schemeClr val="bg1"/>
              </a:solidFill>
              <a:latin typeface="微软雅黑" panose="020B0503020204020204" pitchFamily="34" charset="-122"/>
              <a:ea typeface="微软雅黑" panose="020B0503020204020204" pitchFamily="34" charset="-122"/>
            </a:rPr>
            <a:t>300cfu/ml</a:t>
          </a:r>
          <a:endParaRPr lang="zh-CN" altLang="en-US" sz="1200" dirty="0">
            <a:solidFill>
              <a:schemeClr val="bg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endParaRPr lang="zh-CN" altLang="en-US" sz="1200" dirty="0">
            <a:solidFill>
              <a:schemeClr val="dk1"/>
            </a:solidFill>
            <a:latin typeface="微软雅黑" panose="020B0503020204020204" pitchFamily="34" charset="-122"/>
            <a:ea typeface="微软雅黑" panose="020B0503020204020204" pitchFamily="34" charset="-122"/>
          </a:endParaRPr>
        </a:p>
      </dsp:txBody>
      <dsp:txXfrm>
        <a:off x="37" y="316375"/>
        <a:ext cx="2465206" cy="1840997"/>
      </dsp:txXfrm>
    </dsp:sp>
    <dsp:sp modelId="{12FC1B1D-8053-4A8D-8942-22545F005F87}">
      <dsp:nvSpPr>
        <dsp:cNvPr id="4" name="矩形 3"/>
        <dsp:cNvSpPr/>
      </dsp:nvSpPr>
      <dsp:spPr bwMode="white">
        <a:xfrm>
          <a:off x="37" y="2157372"/>
          <a:ext cx="2465206" cy="791629"/>
        </a:xfrm>
        <a:prstGeom prst="rect">
          <a:avLst/>
        </a:prstGeom>
        <a:solidFill>
          <a:schemeClr val="accent2"/>
        </a:solidFill>
        <a:sp3d prstMaterial="plastic">
          <a:bevelT w="120900" h="88900"/>
          <a:bevelB w="88900" h="31750" prst="angle"/>
        </a:sp3d>
      </dsp:spPr>
      <dsp:style>
        <a:lnRef idx="1">
          <a:schemeClr val="accent4">
            <a:hueOff val="0"/>
            <a:satOff val="0"/>
            <a:lumOff val="0"/>
            <a:alpha val="100000"/>
          </a:schemeClr>
        </a:lnRef>
        <a:fillRef idx="3">
          <a:schemeClr val="accent4">
            <a:hueOff val="0"/>
            <a:satOff val="0"/>
            <a:lumOff val="0"/>
            <a:alpha val="100000"/>
          </a:schemeClr>
        </a:fillRef>
        <a:effectRef idx="2">
          <a:scrgbClr r="0" g="0" b="0"/>
        </a:effectRef>
        <a:fontRef idx="minor">
          <a:schemeClr val="lt1"/>
        </a:fontRef>
      </dsp:style>
      <dsp:txBody>
        <a:bodyPr lIns="45719" tIns="0" rIns="15240" bIns="0"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nSpc>
              <a:spcPct val="100000"/>
            </a:lnSpc>
            <a:spcBef>
              <a:spcPct val="0"/>
            </a:spcBef>
            <a:spcAft>
              <a:spcPts val="0"/>
            </a:spcAft>
          </a:pPr>
          <a:r>
            <a:rPr lang="zh-CN" altLang="en-US" sz="1200" b="1" dirty="0">
              <a:latin typeface="微软雅黑" panose="020B0503020204020204" pitchFamily="34" charset="-122"/>
              <a:ea typeface="微软雅黑" panose="020B0503020204020204" pitchFamily="34" charset="-122"/>
            </a:rPr>
            <a:t>猪源纤维蛋白粘合剂</a:t>
          </a:r>
          <a:endParaRPr lang="en-US" altLang="zh-CN" sz="1200" b="1" dirty="0">
            <a:latin typeface="微软雅黑" panose="020B0503020204020204" pitchFamily="34" charset="-122"/>
            <a:ea typeface="微软雅黑" panose="020B0503020204020204" pitchFamily="34" charset="-122"/>
          </a:endParaRPr>
        </a:p>
        <a:p>
          <a:pPr lvl="0">
            <a:lnSpc>
              <a:spcPct val="100000"/>
            </a:lnSpc>
            <a:spcBef>
              <a:spcPct val="0"/>
            </a:spcBef>
            <a:spcAft>
              <a:spcPts val="0"/>
            </a:spcAft>
          </a:pPr>
          <a:r>
            <a:rPr lang="zh-CN" altLang="en-US" sz="1200" b="1" dirty="0">
              <a:latin typeface="微软雅黑" panose="020B0503020204020204" pitchFamily="34" charset="-122"/>
              <a:ea typeface="微软雅黑" panose="020B0503020204020204" pitchFamily="34" charset="-122"/>
            </a:rPr>
            <a:t>（猪全血原料）</a:t>
          </a:r>
        </a:p>
      </dsp:txBody>
      <dsp:txXfrm>
        <a:off x="37" y="2157372"/>
        <a:ext cx="2465206" cy="791629"/>
      </dsp:txXfrm>
    </dsp:sp>
    <dsp:sp modelId="{7B286602-F3D8-41E7-A3FD-E0C7621E08BD}">
      <dsp:nvSpPr>
        <dsp:cNvPr id="5" name="椭圆 4"/>
        <dsp:cNvSpPr/>
      </dsp:nvSpPr>
      <dsp:spPr bwMode="white">
        <a:xfrm>
          <a:off x="1808077" y="2285856"/>
          <a:ext cx="862822" cy="862822"/>
        </a:xfrm>
        <a:prstGeom prst="ellipse">
          <a:avLst/>
        </a:prstGeom>
        <a:blipFill rotWithShape="1">
          <a:blip r:embed="rId1"/>
          <a:stretch>
            <a:fillRect/>
          </a:stretch>
        </a:blipFill>
        <a:sp3d z="190500" extrusionH="12700" prstMaterial="plastic">
          <a:bevelT w="50800" h="50800"/>
        </a:sp3d>
      </dsp:spPr>
      <dsp:style>
        <a:lnRef idx="1">
          <a:schemeClr val="accent4">
            <a:tint val="40000"/>
            <a:alpha val="90000"/>
            <a:hueOff val="0"/>
            <a:satOff val="0"/>
            <a:lumOff val="0"/>
            <a:alpha val="90196"/>
          </a:schemeClr>
        </a:lnRef>
        <a:fillRef idx="1">
          <a:schemeClr val="accent4">
            <a:tint val="40000"/>
            <a:alpha val="90000"/>
            <a:hueOff val="0"/>
            <a:satOff val="0"/>
            <a:lumOff val="0"/>
            <a:alpha val="90196"/>
          </a:schemeClr>
        </a:fillRef>
        <a:effectRef idx="2">
          <a:scrgbClr r="0" g="0" b="0"/>
        </a:effectRef>
        <a:fontRef idx="minor"/>
      </dsp:style>
      <dsp:txXfrm>
        <a:off x="1808077" y="2285856"/>
        <a:ext cx="862822" cy="862822"/>
      </dsp:txXfrm>
    </dsp:sp>
    <dsp:sp modelId="{76AA2BE5-73FE-410D-BC2C-8DF21ACABBCF}">
      <dsp:nvSpPr>
        <dsp:cNvPr id="6" name="同侧圆角矩形 5"/>
        <dsp:cNvSpPr/>
      </dsp:nvSpPr>
      <dsp:spPr bwMode="white">
        <a:xfrm>
          <a:off x="2884658" y="316375"/>
          <a:ext cx="2465206" cy="1840997"/>
        </a:xfrm>
        <a:prstGeom prst="round2SameRect">
          <a:avLst>
            <a:gd name="adj1" fmla="val 8000"/>
            <a:gd name="adj2" fmla="val 0"/>
          </a:avLst>
        </a:prstGeom>
        <a:sp3d z="-190500" extrusionH="12700" prstMaterial="plastic">
          <a:bevelT w="50800" h="50800"/>
        </a:sp3d>
      </dsp:spPr>
      <dsp:style>
        <a:lnRef idx="1">
          <a:schemeClr val="accent4">
            <a:hueOff val="9780000"/>
            <a:satOff val="-40783"/>
            <a:lumOff val="9412"/>
            <a:alpha val="100000"/>
          </a:schemeClr>
        </a:lnRef>
        <a:fillRef idx="1">
          <a:schemeClr val="lt1">
            <a:alpha val="90000"/>
          </a:schemeClr>
        </a:fillRef>
        <a:effectRef idx="2">
          <a:scrgbClr r="0" g="0" b="0"/>
        </a:effectRef>
        <a:fontRef idx="minor"/>
      </dsp:style>
      <dsp:txBody>
        <a:bodyPr lIns="15240" tIns="45719" rIns="15240" bIns="15240" anchor="t"/>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14300" lvl="1" indent="-114300">
            <a:lnSpc>
              <a:spcPct val="100000"/>
            </a:lnSpc>
            <a:spcBef>
              <a:spcPct val="0"/>
            </a:spcBef>
            <a:spcAft>
              <a:spcPct val="15000"/>
            </a:spcAft>
            <a:buChar char="•"/>
          </a:pPr>
          <a:r>
            <a:rPr lang="zh-CN" altLang="en-US" sz="1200" dirty="0">
              <a:solidFill>
                <a:schemeClr val="dk1"/>
              </a:solidFill>
              <a:latin typeface="微软雅黑" panose="020B0503020204020204" pitchFamily="34" charset="-122"/>
              <a:ea typeface="微软雅黑" panose="020B0503020204020204" pitchFamily="34" charset="-122"/>
            </a:rPr>
            <a:t>单采血浆，密闭包装，追溯方便</a:t>
          </a:r>
          <a:endParaRPr lang="zh-CN" altLang="en-US" sz="1200" dirty="0">
            <a:solidFill>
              <a:schemeClr val="dk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dk1"/>
              </a:solidFill>
              <a:latin typeface="微软雅黑" panose="020B0503020204020204" pitchFamily="34" charset="-122"/>
              <a:ea typeface="微软雅黑" panose="020B0503020204020204" pitchFamily="34" charset="-122"/>
            </a:rPr>
            <a:t>成品纤维蛋白原纯度≥</a:t>
          </a:r>
          <a:r>
            <a:rPr lang="en-US" altLang="zh-CN" sz="1200" dirty="0">
              <a:solidFill>
                <a:schemeClr val="dk1"/>
              </a:solidFill>
              <a:latin typeface="微软雅黑" panose="020B0503020204020204" pitchFamily="34" charset="-122"/>
              <a:ea typeface="微软雅黑" panose="020B0503020204020204" pitchFamily="34" charset="-122"/>
            </a:rPr>
            <a:t>70%</a:t>
          </a:r>
          <a:endParaRPr lang="zh-CN" altLang="en-US" sz="1200" dirty="0">
            <a:solidFill>
              <a:schemeClr val="dk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dk1"/>
              </a:solidFill>
              <a:latin typeface="微软雅黑" panose="020B0503020204020204" pitchFamily="34" charset="-122"/>
              <a:ea typeface="微软雅黑" panose="020B0503020204020204" pitchFamily="34" charset="-122"/>
            </a:rPr>
            <a:t>凝血酶比活性≥</a:t>
          </a:r>
          <a:r>
            <a:rPr lang="en-US" altLang="zh-CN" sz="1200" dirty="0">
              <a:solidFill>
                <a:schemeClr val="dk1"/>
              </a:solidFill>
              <a:latin typeface="微软雅黑" panose="020B0503020204020204" pitchFamily="34" charset="-122"/>
              <a:ea typeface="微软雅黑" panose="020B0503020204020204" pitchFamily="34" charset="-122"/>
            </a:rPr>
            <a:t>500 </a:t>
          </a:r>
          <a:r>
            <a:rPr lang="zh-CN" altLang="en-US" sz="1200" dirty="0">
              <a:solidFill>
                <a:schemeClr val="dk1"/>
              </a:solidFill>
              <a:latin typeface="微软雅黑" panose="020B0503020204020204" pitchFamily="34" charset="-122"/>
              <a:ea typeface="微软雅黑" panose="020B0503020204020204" pitchFamily="34" charset="-122"/>
            </a:rPr>
            <a:t>（</a:t>
          </a:r>
          <a:r>
            <a:rPr lang="en-US" altLang="zh-CN" sz="1200" dirty="0">
              <a:solidFill>
                <a:schemeClr val="dk1"/>
              </a:solidFill>
              <a:latin typeface="微软雅黑" panose="020B0503020204020204" pitchFamily="34" charset="-122"/>
              <a:ea typeface="微软雅黑" panose="020B0503020204020204" pitchFamily="34" charset="-122"/>
            </a:rPr>
            <a:t>IU/mg</a:t>
          </a:r>
          <a:r>
            <a:rPr lang="zh-CN" altLang="en-US" sz="1200" dirty="0">
              <a:solidFill>
                <a:schemeClr val="dk1"/>
              </a:solidFill>
              <a:latin typeface="微软雅黑" panose="020B0503020204020204" pitchFamily="34" charset="-122"/>
              <a:ea typeface="微软雅黑" panose="020B0503020204020204" pitchFamily="34" charset="-122"/>
            </a:rPr>
            <a:t>）</a:t>
          </a:r>
          <a:endParaRPr lang="zh-CN" altLang="en-US" sz="1200" dirty="0">
            <a:solidFill>
              <a:schemeClr val="dk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dk1"/>
              </a:solidFill>
              <a:latin typeface="微软雅黑" panose="020B0503020204020204" pitchFamily="34" charset="-122"/>
              <a:ea typeface="微软雅黑" panose="020B0503020204020204" pitchFamily="34" charset="-122"/>
            </a:rPr>
            <a:t>聚山梨酯</a:t>
          </a:r>
          <a:r>
            <a:rPr lang="en-US" altLang="zh-CN" sz="1200" dirty="0">
              <a:solidFill>
                <a:schemeClr val="dk1"/>
              </a:solidFill>
              <a:latin typeface="微软雅黑" panose="020B0503020204020204" pitchFamily="34" charset="-122"/>
              <a:ea typeface="微软雅黑" panose="020B0503020204020204" pitchFamily="34" charset="-122"/>
            </a:rPr>
            <a:t>80</a:t>
          </a:r>
          <a:r>
            <a:rPr lang="zh-CN" altLang="en-US" sz="1200" dirty="0">
              <a:solidFill>
                <a:schemeClr val="dk1"/>
              </a:solidFill>
              <a:latin typeface="微软雅黑" panose="020B0503020204020204" pitchFamily="34" charset="-122"/>
              <a:ea typeface="微软雅黑" panose="020B0503020204020204" pitchFamily="34" charset="-122"/>
            </a:rPr>
            <a:t>残留≤</a:t>
          </a:r>
          <a:r>
            <a:rPr lang="en-US" altLang="zh-CN" sz="1200" dirty="0">
              <a:solidFill>
                <a:schemeClr val="dk1"/>
              </a:solidFill>
              <a:latin typeface="微软雅黑" panose="020B0503020204020204" pitchFamily="34" charset="-122"/>
              <a:ea typeface="微软雅黑" panose="020B0503020204020204" pitchFamily="34" charset="-122"/>
            </a:rPr>
            <a:t>100</a:t>
          </a:r>
          <a:r>
            <a:rPr lang="zh-CN" altLang="en-US" sz="1200" dirty="0">
              <a:solidFill>
                <a:schemeClr val="dk1"/>
              </a:solidFill>
              <a:latin typeface="微软雅黑" panose="020B0503020204020204" pitchFamily="34" charset="-122"/>
              <a:ea typeface="微软雅黑" panose="020B0503020204020204" pitchFamily="34" charset="-122"/>
            </a:rPr>
            <a:t>（</a:t>
          </a:r>
          <a:r>
            <a:rPr lang="en-US" altLang="zh-CN" sz="1200" dirty="0">
              <a:solidFill>
                <a:schemeClr val="dk1"/>
              </a:solidFill>
              <a:latin typeface="微软雅黑" panose="020B0503020204020204" pitchFamily="34" charset="-122"/>
              <a:ea typeface="微软雅黑" panose="020B0503020204020204" pitchFamily="34" charset="-122"/>
            </a:rPr>
            <a:t>ug/ml</a:t>
          </a:r>
          <a:r>
            <a:rPr lang="zh-CN" altLang="en-US" sz="1200" dirty="0">
              <a:solidFill>
                <a:schemeClr val="dk1"/>
              </a:solidFill>
              <a:latin typeface="微软雅黑" panose="020B0503020204020204" pitchFamily="34" charset="-122"/>
              <a:ea typeface="微软雅黑" panose="020B0503020204020204" pitchFamily="34" charset="-122"/>
            </a:rPr>
            <a:t>）</a:t>
          </a:r>
          <a:endParaRPr lang="zh-CN" altLang="en-US" sz="1200" dirty="0">
            <a:solidFill>
              <a:schemeClr val="dk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dk1"/>
              </a:solidFill>
              <a:latin typeface="微软雅黑" panose="020B0503020204020204" pitchFamily="34" charset="-122"/>
              <a:ea typeface="微软雅黑" panose="020B0503020204020204" pitchFamily="34" charset="-122"/>
            </a:rPr>
            <a:t>微生物限度＜</a:t>
          </a:r>
          <a:r>
            <a:rPr lang="en-US" altLang="zh-CN" sz="1200" dirty="0">
              <a:solidFill>
                <a:schemeClr val="dk1"/>
              </a:solidFill>
              <a:latin typeface="微软雅黑" panose="020B0503020204020204" pitchFamily="34" charset="-122"/>
              <a:ea typeface="微软雅黑" panose="020B0503020204020204" pitchFamily="34" charset="-122"/>
            </a:rPr>
            <a:t>100cfu/ml</a:t>
          </a:r>
          <a:endParaRPr lang="zh-CN" altLang="en-US" sz="1200" dirty="0">
            <a:solidFill>
              <a:schemeClr val="dk1"/>
            </a:solidFill>
            <a:latin typeface="微软雅黑" panose="020B0503020204020204" pitchFamily="34" charset="-122"/>
            <a:ea typeface="微软雅黑" panose="020B0503020204020204" pitchFamily="34" charset="-122"/>
          </a:endParaRPr>
        </a:p>
      </dsp:txBody>
      <dsp:txXfrm>
        <a:off x="2884658" y="316375"/>
        <a:ext cx="2465206" cy="1840997"/>
      </dsp:txXfrm>
    </dsp:sp>
    <dsp:sp modelId="{83B572D6-58E7-4DB6-B0BC-B14F666081DA}">
      <dsp:nvSpPr>
        <dsp:cNvPr id="7" name="矩形 6"/>
        <dsp:cNvSpPr/>
      </dsp:nvSpPr>
      <dsp:spPr bwMode="white">
        <a:xfrm>
          <a:off x="2884658" y="2157372"/>
          <a:ext cx="2465206" cy="791629"/>
        </a:xfrm>
        <a:prstGeom prst="rect">
          <a:avLst/>
        </a:prstGeom>
        <a:sp3d prstMaterial="plastic">
          <a:bevelT w="120900" h="88900"/>
          <a:bevelB w="88900" h="31750" prst="angle"/>
        </a:sp3d>
      </dsp:spPr>
      <dsp:style>
        <a:lnRef idx="2">
          <a:schemeClr val="accent5"/>
        </a:lnRef>
        <a:fillRef idx="1">
          <a:schemeClr val="lt1"/>
        </a:fillRef>
        <a:effectRef idx="0">
          <a:schemeClr val="accent5"/>
        </a:effectRef>
        <a:fontRef idx="minor">
          <a:schemeClr val="dk1"/>
        </a:fontRef>
      </dsp:style>
      <dsp:txBody>
        <a:bodyPr lIns="45719" tIns="0" rIns="15240" bIns="0"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nSpc>
              <a:spcPct val="100000"/>
            </a:lnSpc>
            <a:spcBef>
              <a:spcPct val="0"/>
            </a:spcBef>
            <a:spcAft>
              <a:spcPct val="35000"/>
            </a:spcAft>
          </a:pPr>
          <a:r>
            <a:rPr lang="zh-CN" altLang="en-US" sz="1200" b="1" dirty="0">
              <a:latin typeface="微软雅黑" panose="020B0503020204020204" pitchFamily="34" charset="-122"/>
              <a:ea typeface="微软雅黑" panose="020B0503020204020204" pitchFamily="34" charset="-122"/>
            </a:rPr>
            <a:t>猪纤维蛋白粘合剂</a:t>
          </a:r>
          <a:endParaRPr lang="en-US" altLang="zh-CN" sz="1200" b="1" dirty="0">
            <a:latin typeface="微软雅黑" panose="020B0503020204020204" pitchFamily="34" charset="-122"/>
            <a:ea typeface="微软雅黑" panose="020B0503020204020204" pitchFamily="34" charset="-122"/>
          </a:endParaRPr>
        </a:p>
        <a:p>
          <a:pPr lvl="0">
            <a:lnSpc>
              <a:spcPct val="100000"/>
            </a:lnSpc>
            <a:spcBef>
              <a:spcPct val="0"/>
            </a:spcBef>
            <a:spcAft>
              <a:spcPct val="35000"/>
            </a:spcAft>
          </a:pPr>
          <a:r>
            <a:rPr lang="zh-CN" altLang="en-US" sz="1200" b="1" dirty="0">
              <a:latin typeface="微软雅黑" panose="020B0503020204020204" pitchFamily="34" charset="-122"/>
              <a:ea typeface="微软雅黑" panose="020B0503020204020204" pitchFamily="34" charset="-122"/>
            </a:rPr>
            <a:t>（猪单采血浆原料）</a:t>
          </a:r>
        </a:p>
      </dsp:txBody>
      <dsp:txXfrm>
        <a:off x="2884658" y="2157372"/>
        <a:ext cx="2465206" cy="791629"/>
      </dsp:txXfrm>
    </dsp:sp>
    <dsp:sp modelId="{956AFCF9-EFA0-4E51-B1EA-629B3DBA4229}">
      <dsp:nvSpPr>
        <dsp:cNvPr id="8" name="椭圆 7"/>
        <dsp:cNvSpPr/>
      </dsp:nvSpPr>
      <dsp:spPr bwMode="white">
        <a:xfrm>
          <a:off x="4692698" y="2285856"/>
          <a:ext cx="862822" cy="862822"/>
        </a:xfrm>
        <a:prstGeom prst="ellipse">
          <a:avLst/>
        </a:prstGeom>
        <a:blipFill rotWithShape="1">
          <a:blip r:embed="rId2"/>
          <a:stretch>
            <a:fillRect/>
          </a:stretch>
        </a:blipFill>
        <a:sp3d z="190500" extrusionH="12700" prstMaterial="plastic">
          <a:bevelT w="50800" h="50800"/>
        </a:sp3d>
      </dsp:spPr>
      <dsp:style>
        <a:lnRef idx="1">
          <a:schemeClr val="accent4">
            <a:tint val="40000"/>
            <a:alpha val="90000"/>
            <a:hueOff val="10920000"/>
            <a:satOff val="-52548"/>
            <a:lumOff val="-1568"/>
            <a:alpha val="90196"/>
          </a:schemeClr>
        </a:lnRef>
        <a:fillRef idx="1">
          <a:schemeClr val="accent4">
            <a:tint val="40000"/>
            <a:alpha val="90000"/>
            <a:hueOff val="10920000"/>
            <a:satOff val="-52548"/>
            <a:lumOff val="-1568"/>
            <a:alpha val="90196"/>
          </a:schemeClr>
        </a:fillRef>
        <a:effectRef idx="2">
          <a:scrgbClr r="0" g="0" b="0"/>
        </a:effectRef>
        <a:fontRef idx="minor"/>
      </dsp:style>
      <dsp:txXfrm>
        <a:off x="4692698" y="2285856"/>
        <a:ext cx="862822" cy="862822"/>
      </dsp:txXfrm>
    </dsp:sp>
  </dsp:spTree>
</dsp:drawing>
</file>

<file path=ppt/diagrams/layout1.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off" val="ctr"/>
          <dgm:param type="contDir" val="sameDir"/>
          <dgm:param type="grDir" val="tL"/>
          <dgm:param type="flowDir" val="row"/>
        </dgm:alg>
      </dgm:if>
      <dgm:else name="Name2">
        <dgm:alg type="snake">
          <dgm:param type="off" val="ctr"/>
          <dgm:param type="contDir" val="sameDir"/>
          <dgm:param type="grDir" val="tR"/>
          <dgm:param type="flowDir" val="row"/>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E0EA7B-6822-4EC8-8C65-EACC542A1394}" type="slidenum">
              <a:rPr lang="en-US" smtClean="0"/>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a:t>修改红色部分：降低管理</a:t>
            </a:r>
            <a:r>
              <a:rPr lang="zh-CN" altLang="en-US"/>
              <a:t>难度</a:t>
            </a:r>
            <a:endParaRPr lang="zh-CN" alt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a:t>增加</a:t>
            </a:r>
            <a:r>
              <a:rPr lang="en-US" altLang="zh-CN"/>
              <a:t>1.5ml</a:t>
            </a:r>
            <a:r>
              <a:rPr lang="zh-CN" altLang="en-US"/>
              <a:t>规格、用法用量（</a:t>
            </a:r>
            <a:r>
              <a:rPr kumimoji="1" lang="en-US" altLang="zh-CN" dirty="0">
                <a:solidFill>
                  <a:srgbClr val="1A1918"/>
                </a:solidFill>
                <a:latin typeface="微软雅黑" panose="020B0503020204020204" pitchFamily="34" charset="-122"/>
                <a:ea typeface="微软雅黑" panose="020B0503020204020204" pitchFamily="34" charset="-122"/>
                <a:sym typeface="+mn-ea"/>
              </a:rPr>
              <a:t>1.5ml</a:t>
            </a:r>
            <a:r>
              <a:rPr kumimoji="1" lang="zh-CN" altLang="en-US" dirty="0">
                <a:solidFill>
                  <a:srgbClr val="1A1918"/>
                </a:solidFill>
                <a:latin typeface="微软雅黑" panose="020B0503020204020204" pitchFamily="34" charset="-122"/>
                <a:ea typeface="微软雅黑" panose="020B0503020204020204" pitchFamily="34" charset="-122"/>
                <a:sym typeface="+mn-ea"/>
              </a:rPr>
              <a:t>规格的猪纤维蛋白粘合剂可以覆盖面积大约为</a:t>
            </a:r>
            <a:r>
              <a:rPr kumimoji="1" lang="en-US" altLang="zh-CN" dirty="0">
                <a:solidFill>
                  <a:srgbClr val="1A1918"/>
                </a:solidFill>
                <a:latin typeface="微软雅黑" panose="020B0503020204020204" pitchFamily="34" charset="-122"/>
                <a:ea typeface="微软雅黑" panose="020B0503020204020204" pitchFamily="34" charset="-122"/>
                <a:sym typeface="+mn-ea"/>
              </a:rPr>
              <a:t>15</a:t>
            </a:r>
            <a:r>
              <a:rPr kumimoji="1" lang="zh-CN" altLang="en-US" dirty="0">
                <a:solidFill>
                  <a:srgbClr val="1A1918"/>
                </a:solidFill>
                <a:latin typeface="微软雅黑" panose="020B0503020204020204" pitchFamily="34" charset="-122"/>
                <a:ea typeface="微软雅黑" panose="020B0503020204020204" pitchFamily="34" charset="-122"/>
                <a:sym typeface="+mn-ea"/>
              </a:rPr>
              <a:t>平方厘米的创面。</a:t>
            </a:r>
            <a:r>
              <a:rPr lang="zh-CN" altLang="en-US"/>
              <a:t>）和参照药品（</a:t>
            </a:r>
            <a:r>
              <a:rPr kumimoji="1" lang="zh-CN" altLang="en-US" dirty="0">
                <a:solidFill>
                  <a:srgbClr val="1A1918"/>
                </a:solidFill>
                <a:latin typeface="微软雅黑" panose="020B0503020204020204" pitchFamily="34" charset="-122"/>
                <a:ea typeface="微软雅黑" panose="020B0503020204020204" pitchFamily="34" charset="-122"/>
                <a:sym typeface="+mn-ea"/>
              </a:rPr>
              <a:t>、重组人凝血酶</a:t>
            </a:r>
            <a:r>
              <a:rPr lang="zh-CN" altLang="en-US"/>
              <a:t>）</a:t>
            </a:r>
            <a:endParaRPr lang="zh-CN" altLang="en-US"/>
          </a:p>
          <a:p>
            <a:r>
              <a:rPr lang="zh-CN" altLang="en-US"/>
              <a:t>明确是否增加重组人凝血酶作为</a:t>
            </a:r>
            <a:r>
              <a:rPr lang="zh-CN" altLang="en-US"/>
              <a:t>参照药品。</a:t>
            </a:r>
            <a:endParaRPr lang="zh-CN" alt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a:sym typeface="+mn-ea"/>
              </a:rPr>
              <a:t>明确是否增加重组人凝血酶作为参照药品。</a:t>
            </a:r>
            <a:endParaRPr lang="zh-CN" altLang="en-US"/>
          </a:p>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待确定适应症后更换临床指南或专家</a:t>
            </a:r>
            <a:r>
              <a:rPr lang="zh-CN" altLang="en-US" dirty="0"/>
              <a:t>共识</a:t>
            </a:r>
            <a:endParaRPr lang="zh-CN" altLang="en-US" dirty="0"/>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9E0EA7B-6822-4EC8-8C65-EACC542A1394}"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64472"/>
              <a:gd name="connsiteY0-334" fmla="*/ 0 h 6630428"/>
              <a:gd name="connsiteX1-335" fmla="*/ 11864472 w 11864472"/>
              <a:gd name="connsiteY1-336" fmla="*/ 188353 h 6630428"/>
              <a:gd name="connsiteX2-337" fmla="*/ 11855613 w 11864472"/>
              <a:gd name="connsiteY2-338" fmla="*/ 6628774 h 6630428"/>
              <a:gd name="connsiteX3-339" fmla="*/ 579722 w 11864472"/>
              <a:gd name="connsiteY3-340" fmla="*/ 6630428 h 6630428"/>
              <a:gd name="connsiteX4-341" fmla="*/ 0 w 11864472"/>
              <a:gd name="connsiteY4-342" fmla="*/ 6050706 h 6630428"/>
              <a:gd name="connsiteX5-343" fmla="*/ 0 w 11864472"/>
              <a:gd name="connsiteY5-344" fmla="*/ 0 h 6630428"/>
              <a:gd name="connsiteX0-345" fmla="*/ 0 w 11864472"/>
              <a:gd name="connsiteY0-346" fmla="*/ 13527 h 6643955"/>
              <a:gd name="connsiteX1-347" fmla="*/ 11864472 w 11864472"/>
              <a:gd name="connsiteY1-348" fmla="*/ 0 h 6643955"/>
              <a:gd name="connsiteX2-349" fmla="*/ 11855613 w 11864472"/>
              <a:gd name="connsiteY2-350" fmla="*/ 6642301 h 6643955"/>
              <a:gd name="connsiteX3-351" fmla="*/ 579722 w 11864472"/>
              <a:gd name="connsiteY3-352" fmla="*/ 6643955 h 6643955"/>
              <a:gd name="connsiteX4-353" fmla="*/ 0 w 11864472"/>
              <a:gd name="connsiteY4-354" fmla="*/ 6064233 h 6643955"/>
              <a:gd name="connsiteX5-355" fmla="*/ 0 w 11864472"/>
              <a:gd name="connsiteY5-356" fmla="*/ 13527 h 6643955"/>
              <a:gd name="connsiteX0-357" fmla="*/ 0 w 11864472"/>
              <a:gd name="connsiteY0-358" fmla="*/ 1319813 h 6643955"/>
              <a:gd name="connsiteX1-359" fmla="*/ 11864472 w 11864472"/>
              <a:gd name="connsiteY1-360" fmla="*/ 0 h 6643955"/>
              <a:gd name="connsiteX2-361" fmla="*/ 11855613 w 11864472"/>
              <a:gd name="connsiteY2-362" fmla="*/ 6642301 h 6643955"/>
              <a:gd name="connsiteX3-363" fmla="*/ 579722 w 11864472"/>
              <a:gd name="connsiteY3-364" fmla="*/ 6643955 h 6643955"/>
              <a:gd name="connsiteX4-365" fmla="*/ 0 w 11864472"/>
              <a:gd name="connsiteY4-366" fmla="*/ 6064233 h 6643955"/>
              <a:gd name="connsiteX5-367" fmla="*/ 0 w 11864472"/>
              <a:gd name="connsiteY5-368" fmla="*/ 1319813 h 6643955"/>
              <a:gd name="connsiteX0-369" fmla="*/ 0 w 11864472"/>
              <a:gd name="connsiteY0-370" fmla="*/ 13527 h 5337669"/>
              <a:gd name="connsiteX1-371" fmla="*/ 11864472 w 11864472"/>
              <a:gd name="connsiteY1-372" fmla="*/ 0 h 5337669"/>
              <a:gd name="connsiteX2-373" fmla="*/ 11855613 w 11864472"/>
              <a:gd name="connsiteY2-374" fmla="*/ 5336015 h 5337669"/>
              <a:gd name="connsiteX3-375" fmla="*/ 579722 w 11864472"/>
              <a:gd name="connsiteY3-376" fmla="*/ 5337669 h 5337669"/>
              <a:gd name="connsiteX4-377" fmla="*/ 0 w 11864472"/>
              <a:gd name="connsiteY4-378" fmla="*/ 4757947 h 5337669"/>
              <a:gd name="connsiteX5-379" fmla="*/ 0 w 11864472"/>
              <a:gd name="connsiteY5-380" fmla="*/ 13527 h 5337669"/>
              <a:gd name="connsiteX0-381" fmla="*/ 0 w 11864472"/>
              <a:gd name="connsiteY0-382" fmla="*/ 1652 h 5337669"/>
              <a:gd name="connsiteX1-383" fmla="*/ 11864472 w 11864472"/>
              <a:gd name="connsiteY1-384" fmla="*/ 0 h 5337669"/>
              <a:gd name="connsiteX2-385" fmla="*/ 11855613 w 11864472"/>
              <a:gd name="connsiteY2-386" fmla="*/ 5336015 h 5337669"/>
              <a:gd name="connsiteX3-387" fmla="*/ 579722 w 11864472"/>
              <a:gd name="connsiteY3-388" fmla="*/ 5337669 h 5337669"/>
              <a:gd name="connsiteX4-389" fmla="*/ 0 w 11864472"/>
              <a:gd name="connsiteY4-390" fmla="*/ 4757947 h 5337669"/>
              <a:gd name="connsiteX5-391" fmla="*/ 0 w 11864472"/>
              <a:gd name="connsiteY5-392" fmla="*/ 1652 h 5337669"/>
              <a:gd name="connsiteX0-393" fmla="*/ 0 w 11864472"/>
              <a:gd name="connsiteY0-394" fmla="*/ 2201927 h 5337669"/>
              <a:gd name="connsiteX1-395" fmla="*/ 11864472 w 11864472"/>
              <a:gd name="connsiteY1-396" fmla="*/ 0 h 5337669"/>
              <a:gd name="connsiteX2-397" fmla="*/ 11855613 w 11864472"/>
              <a:gd name="connsiteY2-398" fmla="*/ 5336015 h 5337669"/>
              <a:gd name="connsiteX3-399" fmla="*/ 579722 w 11864472"/>
              <a:gd name="connsiteY3-400" fmla="*/ 5337669 h 5337669"/>
              <a:gd name="connsiteX4-401" fmla="*/ 0 w 11864472"/>
              <a:gd name="connsiteY4-402" fmla="*/ 4757947 h 5337669"/>
              <a:gd name="connsiteX5-403" fmla="*/ 0 w 11864472"/>
              <a:gd name="connsiteY5-404" fmla="*/ 2201927 h 5337669"/>
              <a:gd name="connsiteX0-405" fmla="*/ 0 w 11864472"/>
              <a:gd name="connsiteY0-406" fmla="*/ 1652 h 3137394"/>
              <a:gd name="connsiteX1-407" fmla="*/ 11864472 w 11864472"/>
              <a:gd name="connsiteY1-408" fmla="*/ 0 h 3137394"/>
              <a:gd name="connsiteX2-409" fmla="*/ 11855613 w 11864472"/>
              <a:gd name="connsiteY2-410" fmla="*/ 3135740 h 3137394"/>
              <a:gd name="connsiteX3-411" fmla="*/ 579722 w 11864472"/>
              <a:gd name="connsiteY3-412" fmla="*/ 3137394 h 3137394"/>
              <a:gd name="connsiteX4-413" fmla="*/ 0 w 11864472"/>
              <a:gd name="connsiteY4-414" fmla="*/ 2557672 h 3137394"/>
              <a:gd name="connsiteX5-415" fmla="*/ 0 w 11864472"/>
              <a:gd name="connsiteY5-416" fmla="*/ 1652 h 3137394"/>
              <a:gd name="connsiteX0-417" fmla="*/ 0 w 11864472"/>
              <a:gd name="connsiteY0-418" fmla="*/ 0 h 3420555"/>
              <a:gd name="connsiteX1-419" fmla="*/ 11864472 w 11864472"/>
              <a:gd name="connsiteY1-420" fmla="*/ 283161 h 3420555"/>
              <a:gd name="connsiteX2-421" fmla="*/ 11855613 w 11864472"/>
              <a:gd name="connsiteY2-422" fmla="*/ 3418901 h 3420555"/>
              <a:gd name="connsiteX3-423" fmla="*/ 579722 w 11864472"/>
              <a:gd name="connsiteY3-424" fmla="*/ 3420555 h 3420555"/>
              <a:gd name="connsiteX4-425" fmla="*/ 0 w 11864472"/>
              <a:gd name="connsiteY4-426" fmla="*/ 2840833 h 3420555"/>
              <a:gd name="connsiteX5-427" fmla="*/ 0 w 11864472"/>
              <a:gd name="connsiteY5-428" fmla="*/ 0 h 3420555"/>
              <a:gd name="connsiteX0-429" fmla="*/ 0 w 11864472"/>
              <a:gd name="connsiteY0-430" fmla="*/ 1652 h 3422207"/>
              <a:gd name="connsiteX1-431" fmla="*/ 11864472 w 11864472"/>
              <a:gd name="connsiteY1-432" fmla="*/ 0 h 3422207"/>
              <a:gd name="connsiteX2-433" fmla="*/ 11855613 w 11864472"/>
              <a:gd name="connsiteY2-434" fmla="*/ 3420553 h 3422207"/>
              <a:gd name="connsiteX3-435" fmla="*/ 579722 w 11864472"/>
              <a:gd name="connsiteY3-436" fmla="*/ 3422207 h 3422207"/>
              <a:gd name="connsiteX4-437" fmla="*/ 0 w 11864472"/>
              <a:gd name="connsiteY4-438" fmla="*/ 2842485 h 3422207"/>
              <a:gd name="connsiteX5-439" fmla="*/ 0 w 11864472"/>
              <a:gd name="connsiteY5-440" fmla="*/ 1652 h 3422207"/>
              <a:gd name="connsiteX0-441" fmla="*/ 0 w 11855613"/>
              <a:gd name="connsiteY0-442" fmla="*/ 0 h 3420555"/>
              <a:gd name="connsiteX1-443" fmla="*/ 11834492 w 11855613"/>
              <a:gd name="connsiteY1-444" fmla="*/ 58309 h 3420555"/>
              <a:gd name="connsiteX2-445" fmla="*/ 11855613 w 11855613"/>
              <a:gd name="connsiteY2-446" fmla="*/ 3418901 h 3420555"/>
              <a:gd name="connsiteX3-447" fmla="*/ 579722 w 11855613"/>
              <a:gd name="connsiteY3-448" fmla="*/ 3420555 h 3420555"/>
              <a:gd name="connsiteX4-449" fmla="*/ 0 w 11855613"/>
              <a:gd name="connsiteY4-450" fmla="*/ 2840833 h 3420555"/>
              <a:gd name="connsiteX5-451" fmla="*/ 0 w 11855613"/>
              <a:gd name="connsiteY5-452" fmla="*/ 0 h 3420555"/>
              <a:gd name="connsiteX0-453" fmla="*/ 0 w 11855613"/>
              <a:gd name="connsiteY0-454" fmla="*/ 1652 h 3362246"/>
              <a:gd name="connsiteX1-455" fmla="*/ 11834492 w 11855613"/>
              <a:gd name="connsiteY1-456" fmla="*/ 0 h 3362246"/>
              <a:gd name="connsiteX2-457" fmla="*/ 11855613 w 11855613"/>
              <a:gd name="connsiteY2-458" fmla="*/ 3360592 h 3362246"/>
              <a:gd name="connsiteX3-459" fmla="*/ 579722 w 11855613"/>
              <a:gd name="connsiteY3-460" fmla="*/ 3362246 h 3362246"/>
              <a:gd name="connsiteX4-461" fmla="*/ 0 w 11855613"/>
              <a:gd name="connsiteY4-462" fmla="*/ 2782524 h 3362246"/>
              <a:gd name="connsiteX5-463" fmla="*/ 0 w 11855613"/>
              <a:gd name="connsiteY5-464" fmla="*/ 1652 h 3362246"/>
              <a:gd name="connsiteX0-465" fmla="*/ 0 w 11864473"/>
              <a:gd name="connsiteY0-466" fmla="*/ 0 h 3360594"/>
              <a:gd name="connsiteX1-467" fmla="*/ 11864473 w 11864473"/>
              <a:gd name="connsiteY1-468" fmla="*/ 13338 h 3360594"/>
              <a:gd name="connsiteX2-469" fmla="*/ 11855613 w 11864473"/>
              <a:gd name="connsiteY2-470" fmla="*/ 3358940 h 3360594"/>
              <a:gd name="connsiteX3-471" fmla="*/ 579722 w 11864473"/>
              <a:gd name="connsiteY3-472" fmla="*/ 3360594 h 3360594"/>
              <a:gd name="connsiteX4-473" fmla="*/ 0 w 11864473"/>
              <a:gd name="connsiteY4-474" fmla="*/ 2780872 h 3360594"/>
              <a:gd name="connsiteX5-475" fmla="*/ 0 w 11864473"/>
              <a:gd name="connsiteY5-476" fmla="*/ 0 h 3360594"/>
              <a:gd name="connsiteX0-477" fmla="*/ 0 w 11864473"/>
              <a:gd name="connsiteY0-478" fmla="*/ 1652 h 3362246"/>
              <a:gd name="connsiteX1-479" fmla="*/ 11864473 w 11864473"/>
              <a:gd name="connsiteY1-480" fmla="*/ 0 h 3362246"/>
              <a:gd name="connsiteX2-481" fmla="*/ 11855613 w 11864473"/>
              <a:gd name="connsiteY2-482" fmla="*/ 3360592 h 3362246"/>
              <a:gd name="connsiteX3-483" fmla="*/ 579722 w 11864473"/>
              <a:gd name="connsiteY3-484" fmla="*/ 3362246 h 3362246"/>
              <a:gd name="connsiteX4-485" fmla="*/ 0 w 11864473"/>
              <a:gd name="connsiteY4-486" fmla="*/ 2782524 h 3362246"/>
              <a:gd name="connsiteX5-487" fmla="*/ 0 w 11864473"/>
              <a:gd name="connsiteY5-488" fmla="*/ 1652 h 3362246"/>
              <a:gd name="connsiteX0-489" fmla="*/ 0 w 11855629"/>
              <a:gd name="connsiteY0-490" fmla="*/ 1652 h 3362246"/>
              <a:gd name="connsiteX1-491" fmla="*/ 11459359 w 11855629"/>
              <a:gd name="connsiteY1-492" fmla="*/ 0 h 3362246"/>
              <a:gd name="connsiteX2-493" fmla="*/ 11855613 w 11855629"/>
              <a:gd name="connsiteY2-494" fmla="*/ 3360592 h 3362246"/>
              <a:gd name="connsiteX3-495" fmla="*/ 579722 w 11855629"/>
              <a:gd name="connsiteY3-496" fmla="*/ 3362246 h 3362246"/>
              <a:gd name="connsiteX4-497" fmla="*/ 0 w 11855629"/>
              <a:gd name="connsiteY4-498" fmla="*/ 2782524 h 3362246"/>
              <a:gd name="connsiteX5-499" fmla="*/ 0 w 11855629"/>
              <a:gd name="connsiteY5-500" fmla="*/ 1652 h 3362246"/>
              <a:gd name="connsiteX0-501" fmla="*/ 0 w 11459359"/>
              <a:gd name="connsiteY0-502" fmla="*/ 1652 h 3362246"/>
              <a:gd name="connsiteX1-503" fmla="*/ 11459359 w 11459359"/>
              <a:gd name="connsiteY1-504" fmla="*/ 0 h 3362246"/>
              <a:gd name="connsiteX2-505" fmla="*/ 11438924 w 11459359"/>
              <a:gd name="connsiteY2-506" fmla="*/ 3360592 h 3362246"/>
              <a:gd name="connsiteX3-507" fmla="*/ 579722 w 11459359"/>
              <a:gd name="connsiteY3-508" fmla="*/ 3362246 h 3362246"/>
              <a:gd name="connsiteX4-509" fmla="*/ 0 w 11459359"/>
              <a:gd name="connsiteY4-510" fmla="*/ 2782524 h 3362246"/>
              <a:gd name="connsiteX5-511" fmla="*/ 0 w 11459359"/>
              <a:gd name="connsiteY5-512" fmla="*/ 1652 h 336224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zh-CN" altLang="en-US"/>
              <a:t>单击图标添加图片</a:t>
            </a:r>
            <a:endParaRPr lang="en-US"/>
          </a:p>
        </p:txBody>
      </p:sp>
      <p:sp>
        <p:nvSpPr>
          <p:cNvPr id="15" name="Title 1"/>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r>
              <a:rPr lang="en-GB"/>
              <a:t>Click to Add </a:t>
            </a:r>
            <a:br>
              <a:rPr lang="en-GB"/>
            </a:br>
            <a:r>
              <a:rPr lang="en-GB"/>
              <a:t>Title</a:t>
            </a:r>
            <a:endParaRPr lang="en-GB"/>
          </a:p>
        </p:txBody>
      </p:sp>
      <p:sp>
        <p:nvSpPr>
          <p:cNvPr id="17" name="Rectangle 16"/>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3" name="Text Placeholder 2"/>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Title of Position</a:t>
            </a:r>
            <a:endParaRPr lang="en-US"/>
          </a:p>
        </p:txBody>
      </p:sp>
      <p:sp>
        <p:nvSpPr>
          <p:cNvPr id="24" name="Text Placeholder 2"/>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epartment</a:t>
            </a:r>
            <a:endParaRPr lang="en-US"/>
          </a:p>
        </p:txBody>
      </p:sp>
      <p:sp>
        <p:nvSpPr>
          <p:cNvPr id="25" name="Text Placeholder 2"/>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ate</a:t>
            </a:r>
            <a:endParaRPr lang="en-US"/>
          </a:p>
        </p:txBody>
      </p:sp>
      <p:sp>
        <p:nvSpPr>
          <p:cNvPr id="28" name="Text Placeholder 2"/>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Presenter Name</a:t>
            </a:r>
            <a:endParaRPr lang="en-US"/>
          </a:p>
        </p:txBody>
      </p:sp>
      <p:sp>
        <p:nvSpPr>
          <p:cNvPr id="13" name="Text Placeholder 2"/>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sz="800"/>
            </a:lvl1pPr>
            <a:lvl2pPr>
              <a:defRPr sz="800"/>
            </a:lvl2pPr>
            <a:lvl3pPr>
              <a:defRPr sz="800"/>
            </a:lvl3pPr>
            <a:lvl4pPr>
              <a:defRPr sz="800"/>
            </a:lvl4pPr>
            <a:lvl5pPr>
              <a:defRPr sz="800"/>
            </a:lvl5pPr>
          </a:lstStyle>
          <a:p>
            <a:pPr marL="0" marR="0" lvl="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a:pPr>
            <a:r>
              <a:rPr lang="en-US"/>
              <a:t>Private and confidential. For internal use only.</a:t>
            </a:r>
            <a:endParaRPr lang="en-US"/>
          </a:p>
        </p:txBody>
      </p:sp>
      <p:pic>
        <p:nvPicPr>
          <p:cNvPr id="14" name="图片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38498" y="3764031"/>
            <a:ext cx="1392001" cy="531455"/>
          </a:xfrm>
          <a:prstGeom prst="rect">
            <a:avLst/>
          </a:prstGeom>
        </p:spPr>
      </p:pic>
    </p:spTree>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11" name="Picture Placeholder 9"/>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33463"/>
              <a:gd name="connsiteX1-419" fmla="*/ 8912928 w 8915642"/>
              <a:gd name="connsiteY1-420" fmla="*/ 191388 h 6633463"/>
              <a:gd name="connsiteX2-421" fmla="*/ 8915642 w 8915642"/>
              <a:gd name="connsiteY2-422" fmla="*/ 6631809 h 6633463"/>
              <a:gd name="connsiteX3-423" fmla="*/ 579722 w 8915642"/>
              <a:gd name="connsiteY3-424" fmla="*/ 6633463 h 6633463"/>
              <a:gd name="connsiteX4-425" fmla="*/ 0 w 8915642"/>
              <a:gd name="connsiteY4-426" fmla="*/ 6053741 h 6633463"/>
              <a:gd name="connsiteX5-427" fmla="*/ 0 w 8915642"/>
              <a:gd name="connsiteY5-428" fmla="*/ 1 h 6633463"/>
              <a:gd name="connsiteX0-429" fmla="*/ 0 w 8933278"/>
              <a:gd name="connsiteY0-430" fmla="*/ 1653 h 6635115"/>
              <a:gd name="connsiteX1-431" fmla="*/ 8933248 w 8933278"/>
              <a:gd name="connsiteY1-432" fmla="*/ 0 h 6635115"/>
              <a:gd name="connsiteX2-433" fmla="*/ 8915642 w 8933278"/>
              <a:gd name="connsiteY2-434" fmla="*/ 6633461 h 6635115"/>
              <a:gd name="connsiteX3-435" fmla="*/ 579722 w 8933278"/>
              <a:gd name="connsiteY3-436" fmla="*/ 6635115 h 6635115"/>
              <a:gd name="connsiteX4-437" fmla="*/ 0 w 8933278"/>
              <a:gd name="connsiteY4-438" fmla="*/ 6055393 h 6635115"/>
              <a:gd name="connsiteX5-439" fmla="*/ 0 w 8933278"/>
              <a:gd name="connsiteY5-440" fmla="*/ 1653 h 6635115"/>
              <a:gd name="connsiteX0-441" fmla="*/ 0 w 8933323"/>
              <a:gd name="connsiteY0-442" fmla="*/ 1653 h 6645336"/>
              <a:gd name="connsiteX1-443" fmla="*/ 8933248 w 8933323"/>
              <a:gd name="connsiteY1-444" fmla="*/ 0 h 6645336"/>
              <a:gd name="connsiteX2-445" fmla="*/ 8927517 w 8933323"/>
              <a:gd name="connsiteY2-446" fmla="*/ 6645336 h 6645336"/>
              <a:gd name="connsiteX3-447" fmla="*/ 579722 w 8933323"/>
              <a:gd name="connsiteY3-448" fmla="*/ 6635115 h 6645336"/>
              <a:gd name="connsiteX4-449" fmla="*/ 0 w 8933323"/>
              <a:gd name="connsiteY4-450" fmla="*/ 6055393 h 6645336"/>
              <a:gd name="connsiteX5-451" fmla="*/ 0 w 8933323"/>
              <a:gd name="connsiteY5-452" fmla="*/ 1653 h 6645336"/>
              <a:gd name="connsiteX0-453" fmla="*/ 0 w 8927517"/>
              <a:gd name="connsiteY0-454" fmla="*/ 1653 h 6645336"/>
              <a:gd name="connsiteX1-455" fmla="*/ 7971347 w 8927517"/>
              <a:gd name="connsiteY1-456" fmla="*/ 0 h 6645336"/>
              <a:gd name="connsiteX2-457" fmla="*/ 8927517 w 8927517"/>
              <a:gd name="connsiteY2-458" fmla="*/ 6645336 h 6645336"/>
              <a:gd name="connsiteX3-459" fmla="*/ 579722 w 8927517"/>
              <a:gd name="connsiteY3-460" fmla="*/ 6635115 h 6645336"/>
              <a:gd name="connsiteX4-461" fmla="*/ 0 w 8927517"/>
              <a:gd name="connsiteY4-462" fmla="*/ 6055393 h 6645336"/>
              <a:gd name="connsiteX5-463" fmla="*/ 0 w 8927517"/>
              <a:gd name="connsiteY5-464" fmla="*/ 1653 h 6645336"/>
              <a:gd name="connsiteX0-465" fmla="*/ 0 w 7971422"/>
              <a:gd name="connsiteY0-466" fmla="*/ 1653 h 6645336"/>
              <a:gd name="connsiteX1-467" fmla="*/ 7971347 w 7971422"/>
              <a:gd name="connsiteY1-468" fmla="*/ 0 h 6645336"/>
              <a:gd name="connsiteX2-469" fmla="*/ 7965616 w 7971422"/>
              <a:gd name="connsiteY2-470" fmla="*/ 6645336 h 6645336"/>
              <a:gd name="connsiteX3-471" fmla="*/ 579722 w 7971422"/>
              <a:gd name="connsiteY3-472" fmla="*/ 6635115 h 6645336"/>
              <a:gd name="connsiteX4-473" fmla="*/ 0 w 7971422"/>
              <a:gd name="connsiteY4-474" fmla="*/ 6055393 h 6645336"/>
              <a:gd name="connsiteX5-475" fmla="*/ 0 w 7971422"/>
              <a:gd name="connsiteY5-476" fmla="*/ 1653 h 6645336"/>
              <a:gd name="connsiteX0-477" fmla="*/ 0 w 7971422"/>
              <a:gd name="connsiteY0-478" fmla="*/ 1301816 h 6645336"/>
              <a:gd name="connsiteX1-479" fmla="*/ 7971347 w 7971422"/>
              <a:gd name="connsiteY1-480" fmla="*/ 0 h 6645336"/>
              <a:gd name="connsiteX2-481" fmla="*/ 7965616 w 7971422"/>
              <a:gd name="connsiteY2-482" fmla="*/ 6645336 h 6645336"/>
              <a:gd name="connsiteX3-483" fmla="*/ 579722 w 7971422"/>
              <a:gd name="connsiteY3-484" fmla="*/ 6635115 h 6645336"/>
              <a:gd name="connsiteX4-485" fmla="*/ 0 w 7971422"/>
              <a:gd name="connsiteY4-486" fmla="*/ 6055393 h 6645336"/>
              <a:gd name="connsiteX5-487" fmla="*/ 0 w 7971422"/>
              <a:gd name="connsiteY5-488" fmla="*/ 1301816 h 6645336"/>
              <a:gd name="connsiteX0-489" fmla="*/ 0 w 7965616"/>
              <a:gd name="connsiteY0-490" fmla="*/ 1653 h 5345173"/>
              <a:gd name="connsiteX1-491" fmla="*/ 7957060 w 7965616"/>
              <a:gd name="connsiteY1-492" fmla="*/ 0 h 5345173"/>
              <a:gd name="connsiteX2-493" fmla="*/ 7965616 w 7965616"/>
              <a:gd name="connsiteY2-494" fmla="*/ 5345173 h 5345173"/>
              <a:gd name="connsiteX3-495" fmla="*/ 579722 w 7965616"/>
              <a:gd name="connsiteY3-496" fmla="*/ 5334952 h 5345173"/>
              <a:gd name="connsiteX4-497" fmla="*/ 0 w 7965616"/>
              <a:gd name="connsiteY4-498" fmla="*/ 4755230 h 5345173"/>
              <a:gd name="connsiteX5-499" fmla="*/ 0 w 7965616"/>
              <a:gd name="connsiteY5-500" fmla="*/ 1653 h 5345173"/>
              <a:gd name="connsiteX0-501" fmla="*/ 0 w 7971422"/>
              <a:gd name="connsiteY0-502" fmla="*/ 1653 h 5345173"/>
              <a:gd name="connsiteX1-503" fmla="*/ 7971347 w 7971422"/>
              <a:gd name="connsiteY1-504" fmla="*/ 0 h 5345173"/>
              <a:gd name="connsiteX2-505" fmla="*/ 7965616 w 7971422"/>
              <a:gd name="connsiteY2-506" fmla="*/ 5345173 h 5345173"/>
              <a:gd name="connsiteX3-507" fmla="*/ 579722 w 7971422"/>
              <a:gd name="connsiteY3-508" fmla="*/ 5334952 h 5345173"/>
              <a:gd name="connsiteX4-509" fmla="*/ 0 w 7971422"/>
              <a:gd name="connsiteY4-510" fmla="*/ 4755230 h 5345173"/>
              <a:gd name="connsiteX5-511" fmla="*/ 0 w 7971422"/>
              <a:gd name="connsiteY5-512" fmla="*/ 1653 h 5345173"/>
              <a:gd name="connsiteX0-513" fmla="*/ 0 w 7988356"/>
              <a:gd name="connsiteY0-514" fmla="*/ 187920 h 5345173"/>
              <a:gd name="connsiteX1-515" fmla="*/ 7988281 w 7988356"/>
              <a:gd name="connsiteY1-516" fmla="*/ 0 h 5345173"/>
              <a:gd name="connsiteX2-517" fmla="*/ 7982550 w 7988356"/>
              <a:gd name="connsiteY2-518" fmla="*/ 5345173 h 5345173"/>
              <a:gd name="connsiteX3-519" fmla="*/ 596656 w 7988356"/>
              <a:gd name="connsiteY3-520" fmla="*/ 5334952 h 5345173"/>
              <a:gd name="connsiteX4-521" fmla="*/ 16934 w 7988356"/>
              <a:gd name="connsiteY4-522" fmla="*/ 4755230 h 5345173"/>
              <a:gd name="connsiteX5-523" fmla="*/ 0 w 7988356"/>
              <a:gd name="connsiteY5-524" fmla="*/ 187920 h 5345173"/>
              <a:gd name="connsiteX0-525" fmla="*/ 0 w 7988356"/>
              <a:gd name="connsiteY0-526" fmla="*/ 210145 h 5345173"/>
              <a:gd name="connsiteX1-527" fmla="*/ 7988281 w 7988356"/>
              <a:gd name="connsiteY1-528" fmla="*/ 0 h 5345173"/>
              <a:gd name="connsiteX2-529" fmla="*/ 7982550 w 7988356"/>
              <a:gd name="connsiteY2-530" fmla="*/ 5345173 h 5345173"/>
              <a:gd name="connsiteX3-531" fmla="*/ 596656 w 7988356"/>
              <a:gd name="connsiteY3-532" fmla="*/ 5334952 h 5345173"/>
              <a:gd name="connsiteX4-533" fmla="*/ 16934 w 7988356"/>
              <a:gd name="connsiteY4-534" fmla="*/ 4755230 h 5345173"/>
              <a:gd name="connsiteX5-535" fmla="*/ 0 w 7988356"/>
              <a:gd name="connsiteY5-536" fmla="*/ 210145 h 5345173"/>
              <a:gd name="connsiteX0-537" fmla="*/ 0 w 7988356"/>
              <a:gd name="connsiteY0-538" fmla="*/ 0 h 5135028"/>
              <a:gd name="connsiteX1-539" fmla="*/ 7988281 w 7988356"/>
              <a:gd name="connsiteY1-540" fmla="*/ 7569 h 5135028"/>
              <a:gd name="connsiteX2-541" fmla="*/ 7982550 w 7988356"/>
              <a:gd name="connsiteY2-542" fmla="*/ 5135028 h 5135028"/>
              <a:gd name="connsiteX3-543" fmla="*/ 596656 w 7988356"/>
              <a:gd name="connsiteY3-544" fmla="*/ 5124807 h 5135028"/>
              <a:gd name="connsiteX4-545" fmla="*/ 16934 w 7988356"/>
              <a:gd name="connsiteY4-546" fmla="*/ 4545085 h 5135028"/>
              <a:gd name="connsiteX5-547" fmla="*/ 0 w 7988356"/>
              <a:gd name="connsiteY5-548" fmla="*/ 0 h 5135028"/>
              <a:gd name="connsiteX0-549" fmla="*/ 0 w 7982550"/>
              <a:gd name="connsiteY0-550" fmla="*/ 0 h 5135028"/>
              <a:gd name="connsiteX1-551" fmla="*/ 6028853 w 7982550"/>
              <a:gd name="connsiteY1-552" fmla="*/ 7569 h 5135028"/>
              <a:gd name="connsiteX2-553" fmla="*/ 7982550 w 7982550"/>
              <a:gd name="connsiteY2-554" fmla="*/ 5135028 h 5135028"/>
              <a:gd name="connsiteX3-555" fmla="*/ 596656 w 7982550"/>
              <a:gd name="connsiteY3-556" fmla="*/ 5124807 h 5135028"/>
              <a:gd name="connsiteX4-557" fmla="*/ 16934 w 7982550"/>
              <a:gd name="connsiteY4-558" fmla="*/ 4545085 h 5135028"/>
              <a:gd name="connsiteX5-559" fmla="*/ 0 w 7982550"/>
              <a:gd name="connsiteY5-560" fmla="*/ 0 h 5135028"/>
              <a:gd name="connsiteX0-561" fmla="*/ 0 w 6037636"/>
              <a:gd name="connsiteY0-562" fmla="*/ 0 h 5135028"/>
              <a:gd name="connsiteX1-563" fmla="*/ 6028853 w 6037636"/>
              <a:gd name="connsiteY1-564" fmla="*/ 7569 h 5135028"/>
              <a:gd name="connsiteX2-565" fmla="*/ 6037636 w 6037636"/>
              <a:gd name="connsiteY2-566" fmla="*/ 5135028 h 5135028"/>
              <a:gd name="connsiteX3-567" fmla="*/ 596656 w 6037636"/>
              <a:gd name="connsiteY3-568" fmla="*/ 5124807 h 5135028"/>
              <a:gd name="connsiteX4-569" fmla="*/ 16934 w 6037636"/>
              <a:gd name="connsiteY4-570" fmla="*/ 4545085 h 5135028"/>
              <a:gd name="connsiteX5-571" fmla="*/ 0 w 6037636"/>
              <a:gd name="connsiteY5-572" fmla="*/ 0 h 513502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US"/>
              <a:t>Insert Photo</a:t>
            </a:r>
            <a:endParaRPr lang="en-US"/>
          </a:p>
        </p:txBody>
      </p:sp>
      <p:sp>
        <p:nvSpPr>
          <p:cNvPr id="18" name="Text Placeholder 6"/>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21" name="Text Placeholder 6"/>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24"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7"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8"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29" name="Text Placeholder 2"/>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30" name="Text Placeholder 6"/>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3" name="图片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33463"/>
              <a:gd name="connsiteX1-419" fmla="*/ 8912928 w 8915642"/>
              <a:gd name="connsiteY1-420" fmla="*/ 191388 h 6633463"/>
              <a:gd name="connsiteX2-421" fmla="*/ 8915642 w 8915642"/>
              <a:gd name="connsiteY2-422" fmla="*/ 6631809 h 6633463"/>
              <a:gd name="connsiteX3-423" fmla="*/ 579722 w 8915642"/>
              <a:gd name="connsiteY3-424" fmla="*/ 6633463 h 6633463"/>
              <a:gd name="connsiteX4-425" fmla="*/ 0 w 8915642"/>
              <a:gd name="connsiteY4-426" fmla="*/ 6053741 h 6633463"/>
              <a:gd name="connsiteX5-427" fmla="*/ 0 w 8915642"/>
              <a:gd name="connsiteY5-428" fmla="*/ 1 h 6633463"/>
              <a:gd name="connsiteX0-429" fmla="*/ 0 w 8933278"/>
              <a:gd name="connsiteY0-430" fmla="*/ 1653 h 6635115"/>
              <a:gd name="connsiteX1-431" fmla="*/ 8933248 w 8933278"/>
              <a:gd name="connsiteY1-432" fmla="*/ 0 h 6635115"/>
              <a:gd name="connsiteX2-433" fmla="*/ 8915642 w 8933278"/>
              <a:gd name="connsiteY2-434" fmla="*/ 6633461 h 6635115"/>
              <a:gd name="connsiteX3-435" fmla="*/ 579722 w 8933278"/>
              <a:gd name="connsiteY3-436" fmla="*/ 6635115 h 6635115"/>
              <a:gd name="connsiteX4-437" fmla="*/ 0 w 8933278"/>
              <a:gd name="connsiteY4-438" fmla="*/ 6055393 h 6635115"/>
              <a:gd name="connsiteX5-439" fmla="*/ 0 w 8933278"/>
              <a:gd name="connsiteY5-440" fmla="*/ 1653 h 6635115"/>
              <a:gd name="connsiteX0-441" fmla="*/ 0 w 8933323"/>
              <a:gd name="connsiteY0-442" fmla="*/ 1653 h 6645336"/>
              <a:gd name="connsiteX1-443" fmla="*/ 8933248 w 8933323"/>
              <a:gd name="connsiteY1-444" fmla="*/ 0 h 6645336"/>
              <a:gd name="connsiteX2-445" fmla="*/ 8927517 w 8933323"/>
              <a:gd name="connsiteY2-446" fmla="*/ 6645336 h 6645336"/>
              <a:gd name="connsiteX3-447" fmla="*/ 579722 w 8933323"/>
              <a:gd name="connsiteY3-448" fmla="*/ 6635115 h 6645336"/>
              <a:gd name="connsiteX4-449" fmla="*/ 0 w 8933323"/>
              <a:gd name="connsiteY4-450" fmla="*/ 6055393 h 6645336"/>
              <a:gd name="connsiteX5-451" fmla="*/ 0 w 8933323"/>
              <a:gd name="connsiteY5-452" fmla="*/ 1653 h 6645336"/>
              <a:gd name="connsiteX0-453" fmla="*/ 0 w 8927517"/>
              <a:gd name="connsiteY0-454" fmla="*/ 1653 h 6645336"/>
              <a:gd name="connsiteX1-455" fmla="*/ 7971347 w 8927517"/>
              <a:gd name="connsiteY1-456" fmla="*/ 0 h 6645336"/>
              <a:gd name="connsiteX2-457" fmla="*/ 8927517 w 8927517"/>
              <a:gd name="connsiteY2-458" fmla="*/ 6645336 h 6645336"/>
              <a:gd name="connsiteX3-459" fmla="*/ 579722 w 8927517"/>
              <a:gd name="connsiteY3-460" fmla="*/ 6635115 h 6645336"/>
              <a:gd name="connsiteX4-461" fmla="*/ 0 w 8927517"/>
              <a:gd name="connsiteY4-462" fmla="*/ 6055393 h 6645336"/>
              <a:gd name="connsiteX5-463" fmla="*/ 0 w 8927517"/>
              <a:gd name="connsiteY5-464" fmla="*/ 1653 h 6645336"/>
              <a:gd name="connsiteX0-465" fmla="*/ 0 w 7971422"/>
              <a:gd name="connsiteY0-466" fmla="*/ 1653 h 6645336"/>
              <a:gd name="connsiteX1-467" fmla="*/ 7971347 w 7971422"/>
              <a:gd name="connsiteY1-468" fmla="*/ 0 h 6645336"/>
              <a:gd name="connsiteX2-469" fmla="*/ 7965616 w 7971422"/>
              <a:gd name="connsiteY2-470" fmla="*/ 6645336 h 6645336"/>
              <a:gd name="connsiteX3-471" fmla="*/ 579722 w 7971422"/>
              <a:gd name="connsiteY3-472" fmla="*/ 6635115 h 6645336"/>
              <a:gd name="connsiteX4-473" fmla="*/ 0 w 7971422"/>
              <a:gd name="connsiteY4-474" fmla="*/ 6055393 h 6645336"/>
              <a:gd name="connsiteX5-475" fmla="*/ 0 w 7971422"/>
              <a:gd name="connsiteY5-476" fmla="*/ 1653 h 6645336"/>
              <a:gd name="connsiteX0-477" fmla="*/ 0 w 7971422"/>
              <a:gd name="connsiteY0-478" fmla="*/ 1301816 h 6645336"/>
              <a:gd name="connsiteX1-479" fmla="*/ 7971347 w 7971422"/>
              <a:gd name="connsiteY1-480" fmla="*/ 0 h 6645336"/>
              <a:gd name="connsiteX2-481" fmla="*/ 7965616 w 7971422"/>
              <a:gd name="connsiteY2-482" fmla="*/ 6645336 h 6645336"/>
              <a:gd name="connsiteX3-483" fmla="*/ 579722 w 7971422"/>
              <a:gd name="connsiteY3-484" fmla="*/ 6635115 h 6645336"/>
              <a:gd name="connsiteX4-485" fmla="*/ 0 w 7971422"/>
              <a:gd name="connsiteY4-486" fmla="*/ 6055393 h 6645336"/>
              <a:gd name="connsiteX5-487" fmla="*/ 0 w 7971422"/>
              <a:gd name="connsiteY5-488" fmla="*/ 1301816 h 6645336"/>
              <a:gd name="connsiteX0-489" fmla="*/ 0 w 7965616"/>
              <a:gd name="connsiteY0-490" fmla="*/ 1653 h 5345173"/>
              <a:gd name="connsiteX1-491" fmla="*/ 7957060 w 7965616"/>
              <a:gd name="connsiteY1-492" fmla="*/ 0 h 5345173"/>
              <a:gd name="connsiteX2-493" fmla="*/ 7965616 w 7965616"/>
              <a:gd name="connsiteY2-494" fmla="*/ 5345173 h 5345173"/>
              <a:gd name="connsiteX3-495" fmla="*/ 579722 w 7965616"/>
              <a:gd name="connsiteY3-496" fmla="*/ 5334952 h 5345173"/>
              <a:gd name="connsiteX4-497" fmla="*/ 0 w 7965616"/>
              <a:gd name="connsiteY4-498" fmla="*/ 4755230 h 5345173"/>
              <a:gd name="connsiteX5-499" fmla="*/ 0 w 7965616"/>
              <a:gd name="connsiteY5-500" fmla="*/ 1653 h 5345173"/>
              <a:gd name="connsiteX0-501" fmla="*/ 0 w 7971422"/>
              <a:gd name="connsiteY0-502" fmla="*/ 1653 h 5345173"/>
              <a:gd name="connsiteX1-503" fmla="*/ 7971347 w 7971422"/>
              <a:gd name="connsiteY1-504" fmla="*/ 0 h 5345173"/>
              <a:gd name="connsiteX2-505" fmla="*/ 7965616 w 7971422"/>
              <a:gd name="connsiteY2-506" fmla="*/ 5345173 h 5345173"/>
              <a:gd name="connsiteX3-507" fmla="*/ 579722 w 7971422"/>
              <a:gd name="connsiteY3-508" fmla="*/ 5334952 h 5345173"/>
              <a:gd name="connsiteX4-509" fmla="*/ 0 w 7971422"/>
              <a:gd name="connsiteY4-510" fmla="*/ 4755230 h 5345173"/>
              <a:gd name="connsiteX5-511" fmla="*/ 0 w 7971422"/>
              <a:gd name="connsiteY5-512" fmla="*/ 1653 h 5345173"/>
              <a:gd name="connsiteX0-513" fmla="*/ 0 w 7988356"/>
              <a:gd name="connsiteY0-514" fmla="*/ 187920 h 5345173"/>
              <a:gd name="connsiteX1-515" fmla="*/ 7988281 w 7988356"/>
              <a:gd name="connsiteY1-516" fmla="*/ 0 h 5345173"/>
              <a:gd name="connsiteX2-517" fmla="*/ 7982550 w 7988356"/>
              <a:gd name="connsiteY2-518" fmla="*/ 5345173 h 5345173"/>
              <a:gd name="connsiteX3-519" fmla="*/ 596656 w 7988356"/>
              <a:gd name="connsiteY3-520" fmla="*/ 5334952 h 5345173"/>
              <a:gd name="connsiteX4-521" fmla="*/ 16934 w 7988356"/>
              <a:gd name="connsiteY4-522" fmla="*/ 4755230 h 5345173"/>
              <a:gd name="connsiteX5-523" fmla="*/ 0 w 7988356"/>
              <a:gd name="connsiteY5-524" fmla="*/ 187920 h 5345173"/>
              <a:gd name="connsiteX0-525" fmla="*/ 0 w 7988356"/>
              <a:gd name="connsiteY0-526" fmla="*/ 210145 h 5345173"/>
              <a:gd name="connsiteX1-527" fmla="*/ 7988281 w 7988356"/>
              <a:gd name="connsiteY1-528" fmla="*/ 0 h 5345173"/>
              <a:gd name="connsiteX2-529" fmla="*/ 7982550 w 7988356"/>
              <a:gd name="connsiteY2-530" fmla="*/ 5345173 h 5345173"/>
              <a:gd name="connsiteX3-531" fmla="*/ 596656 w 7988356"/>
              <a:gd name="connsiteY3-532" fmla="*/ 5334952 h 5345173"/>
              <a:gd name="connsiteX4-533" fmla="*/ 16934 w 7988356"/>
              <a:gd name="connsiteY4-534" fmla="*/ 4755230 h 5345173"/>
              <a:gd name="connsiteX5-535" fmla="*/ 0 w 7988356"/>
              <a:gd name="connsiteY5-536" fmla="*/ 210145 h 5345173"/>
              <a:gd name="connsiteX0-537" fmla="*/ 0 w 7988356"/>
              <a:gd name="connsiteY0-538" fmla="*/ 0 h 5135028"/>
              <a:gd name="connsiteX1-539" fmla="*/ 7988281 w 7988356"/>
              <a:gd name="connsiteY1-540" fmla="*/ 7569 h 5135028"/>
              <a:gd name="connsiteX2-541" fmla="*/ 7982550 w 7988356"/>
              <a:gd name="connsiteY2-542" fmla="*/ 5135028 h 5135028"/>
              <a:gd name="connsiteX3-543" fmla="*/ 596656 w 7988356"/>
              <a:gd name="connsiteY3-544" fmla="*/ 5124807 h 5135028"/>
              <a:gd name="connsiteX4-545" fmla="*/ 16934 w 7988356"/>
              <a:gd name="connsiteY4-546" fmla="*/ 4545085 h 5135028"/>
              <a:gd name="connsiteX5-547" fmla="*/ 0 w 7988356"/>
              <a:gd name="connsiteY5-548" fmla="*/ 0 h 5135028"/>
              <a:gd name="connsiteX0-549" fmla="*/ 0 w 7982550"/>
              <a:gd name="connsiteY0-550" fmla="*/ 0 h 5135028"/>
              <a:gd name="connsiteX1-551" fmla="*/ 6028853 w 7982550"/>
              <a:gd name="connsiteY1-552" fmla="*/ 7569 h 5135028"/>
              <a:gd name="connsiteX2-553" fmla="*/ 7982550 w 7982550"/>
              <a:gd name="connsiteY2-554" fmla="*/ 5135028 h 5135028"/>
              <a:gd name="connsiteX3-555" fmla="*/ 596656 w 7982550"/>
              <a:gd name="connsiteY3-556" fmla="*/ 5124807 h 5135028"/>
              <a:gd name="connsiteX4-557" fmla="*/ 16934 w 7982550"/>
              <a:gd name="connsiteY4-558" fmla="*/ 4545085 h 5135028"/>
              <a:gd name="connsiteX5-559" fmla="*/ 0 w 7982550"/>
              <a:gd name="connsiteY5-560" fmla="*/ 0 h 5135028"/>
              <a:gd name="connsiteX0-561" fmla="*/ 0 w 6037636"/>
              <a:gd name="connsiteY0-562" fmla="*/ 0 h 5135028"/>
              <a:gd name="connsiteX1-563" fmla="*/ 6028853 w 6037636"/>
              <a:gd name="connsiteY1-564" fmla="*/ 7569 h 5135028"/>
              <a:gd name="connsiteX2-565" fmla="*/ 6037636 w 6037636"/>
              <a:gd name="connsiteY2-566" fmla="*/ 5135028 h 5135028"/>
              <a:gd name="connsiteX3-567" fmla="*/ 596656 w 6037636"/>
              <a:gd name="connsiteY3-568" fmla="*/ 5124807 h 5135028"/>
              <a:gd name="connsiteX4-569" fmla="*/ 16934 w 6037636"/>
              <a:gd name="connsiteY4-570" fmla="*/ 4545085 h 5135028"/>
              <a:gd name="connsiteX5-571" fmla="*/ 0 w 6037636"/>
              <a:gd name="connsiteY5-572" fmla="*/ 0 h 5135028"/>
              <a:gd name="connsiteX0-573" fmla="*/ 0 w 6024384"/>
              <a:gd name="connsiteY0-574" fmla="*/ 0 h 6857810"/>
              <a:gd name="connsiteX1-575" fmla="*/ 6015601 w 6024384"/>
              <a:gd name="connsiteY1-576" fmla="*/ 1730351 h 6857810"/>
              <a:gd name="connsiteX2-577" fmla="*/ 6024384 w 6024384"/>
              <a:gd name="connsiteY2-578" fmla="*/ 6857810 h 6857810"/>
              <a:gd name="connsiteX3-579" fmla="*/ 583404 w 6024384"/>
              <a:gd name="connsiteY3-580" fmla="*/ 6847589 h 6857810"/>
              <a:gd name="connsiteX4-581" fmla="*/ 3682 w 6024384"/>
              <a:gd name="connsiteY4-582" fmla="*/ 6267867 h 6857810"/>
              <a:gd name="connsiteX5-583" fmla="*/ 0 w 6024384"/>
              <a:gd name="connsiteY5-584" fmla="*/ 0 h 6857810"/>
              <a:gd name="connsiteX0-585" fmla="*/ 0 w 6024384"/>
              <a:gd name="connsiteY0-586" fmla="*/ 5684 h 6863494"/>
              <a:gd name="connsiteX1-587" fmla="*/ 6002349 w 6024384"/>
              <a:gd name="connsiteY1-588" fmla="*/ 0 h 6863494"/>
              <a:gd name="connsiteX2-589" fmla="*/ 6024384 w 6024384"/>
              <a:gd name="connsiteY2-590" fmla="*/ 6863494 h 6863494"/>
              <a:gd name="connsiteX3-591" fmla="*/ 583404 w 6024384"/>
              <a:gd name="connsiteY3-592" fmla="*/ 6853273 h 6863494"/>
              <a:gd name="connsiteX4-593" fmla="*/ 3682 w 6024384"/>
              <a:gd name="connsiteY4-594" fmla="*/ 6273551 h 6863494"/>
              <a:gd name="connsiteX5-595" fmla="*/ 0 w 6024384"/>
              <a:gd name="connsiteY5-596" fmla="*/ 5684 h 686349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US"/>
              <a:t>Insert Photo</a:t>
            </a:r>
            <a:endParaRPr lang="en-US"/>
          </a:p>
        </p:txBody>
      </p:sp>
      <p:sp>
        <p:nvSpPr>
          <p:cNvPr id="7" name="Text Placeholder 6"/>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2" name="Text Placeholder 6"/>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17" name="タイトル プレースホルダ 1"/>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2"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3" name="Text Placeholder 6"/>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9" name="Text Placeholder 2"/>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20" name="Text Placeholder 6"/>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spTree>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2" name="Text Placeholder 6"/>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a:t>
            </a:r>
            <a:endParaRPr lang="en-US"/>
          </a:p>
        </p:txBody>
      </p:sp>
      <p:sp>
        <p:nvSpPr>
          <p:cNvPr id="11" name="Picture Placeholder 9"/>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33463"/>
              <a:gd name="connsiteX1-419" fmla="*/ 8912928 w 8915642"/>
              <a:gd name="connsiteY1-420" fmla="*/ 191388 h 6633463"/>
              <a:gd name="connsiteX2-421" fmla="*/ 8915642 w 8915642"/>
              <a:gd name="connsiteY2-422" fmla="*/ 6631809 h 6633463"/>
              <a:gd name="connsiteX3-423" fmla="*/ 579722 w 8915642"/>
              <a:gd name="connsiteY3-424" fmla="*/ 6633463 h 6633463"/>
              <a:gd name="connsiteX4-425" fmla="*/ 0 w 8915642"/>
              <a:gd name="connsiteY4-426" fmla="*/ 6053741 h 6633463"/>
              <a:gd name="connsiteX5-427" fmla="*/ 0 w 8915642"/>
              <a:gd name="connsiteY5-428" fmla="*/ 1 h 6633463"/>
              <a:gd name="connsiteX0-429" fmla="*/ 0 w 8933278"/>
              <a:gd name="connsiteY0-430" fmla="*/ 1653 h 6635115"/>
              <a:gd name="connsiteX1-431" fmla="*/ 8933248 w 8933278"/>
              <a:gd name="connsiteY1-432" fmla="*/ 0 h 6635115"/>
              <a:gd name="connsiteX2-433" fmla="*/ 8915642 w 8933278"/>
              <a:gd name="connsiteY2-434" fmla="*/ 6633461 h 6635115"/>
              <a:gd name="connsiteX3-435" fmla="*/ 579722 w 8933278"/>
              <a:gd name="connsiteY3-436" fmla="*/ 6635115 h 6635115"/>
              <a:gd name="connsiteX4-437" fmla="*/ 0 w 8933278"/>
              <a:gd name="connsiteY4-438" fmla="*/ 6055393 h 6635115"/>
              <a:gd name="connsiteX5-439" fmla="*/ 0 w 8933278"/>
              <a:gd name="connsiteY5-440" fmla="*/ 1653 h 6635115"/>
              <a:gd name="connsiteX0-441" fmla="*/ 0 w 8933323"/>
              <a:gd name="connsiteY0-442" fmla="*/ 1653 h 6645336"/>
              <a:gd name="connsiteX1-443" fmla="*/ 8933248 w 8933323"/>
              <a:gd name="connsiteY1-444" fmla="*/ 0 h 6645336"/>
              <a:gd name="connsiteX2-445" fmla="*/ 8927517 w 8933323"/>
              <a:gd name="connsiteY2-446" fmla="*/ 6645336 h 6645336"/>
              <a:gd name="connsiteX3-447" fmla="*/ 579722 w 8933323"/>
              <a:gd name="connsiteY3-448" fmla="*/ 6635115 h 6645336"/>
              <a:gd name="connsiteX4-449" fmla="*/ 0 w 8933323"/>
              <a:gd name="connsiteY4-450" fmla="*/ 6055393 h 6645336"/>
              <a:gd name="connsiteX5-451" fmla="*/ 0 w 8933323"/>
              <a:gd name="connsiteY5-452" fmla="*/ 1653 h 6645336"/>
              <a:gd name="connsiteX0-453" fmla="*/ 0 w 8927517"/>
              <a:gd name="connsiteY0-454" fmla="*/ 1653 h 6645336"/>
              <a:gd name="connsiteX1-455" fmla="*/ 7971347 w 8927517"/>
              <a:gd name="connsiteY1-456" fmla="*/ 0 h 6645336"/>
              <a:gd name="connsiteX2-457" fmla="*/ 8927517 w 8927517"/>
              <a:gd name="connsiteY2-458" fmla="*/ 6645336 h 6645336"/>
              <a:gd name="connsiteX3-459" fmla="*/ 579722 w 8927517"/>
              <a:gd name="connsiteY3-460" fmla="*/ 6635115 h 6645336"/>
              <a:gd name="connsiteX4-461" fmla="*/ 0 w 8927517"/>
              <a:gd name="connsiteY4-462" fmla="*/ 6055393 h 6645336"/>
              <a:gd name="connsiteX5-463" fmla="*/ 0 w 8927517"/>
              <a:gd name="connsiteY5-464" fmla="*/ 1653 h 6645336"/>
              <a:gd name="connsiteX0-465" fmla="*/ 0 w 7971422"/>
              <a:gd name="connsiteY0-466" fmla="*/ 1653 h 6645336"/>
              <a:gd name="connsiteX1-467" fmla="*/ 7971347 w 7971422"/>
              <a:gd name="connsiteY1-468" fmla="*/ 0 h 6645336"/>
              <a:gd name="connsiteX2-469" fmla="*/ 7965616 w 7971422"/>
              <a:gd name="connsiteY2-470" fmla="*/ 6645336 h 6645336"/>
              <a:gd name="connsiteX3-471" fmla="*/ 579722 w 7971422"/>
              <a:gd name="connsiteY3-472" fmla="*/ 6635115 h 6645336"/>
              <a:gd name="connsiteX4-473" fmla="*/ 0 w 7971422"/>
              <a:gd name="connsiteY4-474" fmla="*/ 6055393 h 6645336"/>
              <a:gd name="connsiteX5-475" fmla="*/ 0 w 7971422"/>
              <a:gd name="connsiteY5-476" fmla="*/ 1653 h 6645336"/>
              <a:gd name="connsiteX0-477" fmla="*/ 0 w 7971422"/>
              <a:gd name="connsiteY0-478" fmla="*/ 1301816 h 6645336"/>
              <a:gd name="connsiteX1-479" fmla="*/ 7971347 w 7971422"/>
              <a:gd name="connsiteY1-480" fmla="*/ 0 h 6645336"/>
              <a:gd name="connsiteX2-481" fmla="*/ 7965616 w 7971422"/>
              <a:gd name="connsiteY2-482" fmla="*/ 6645336 h 6645336"/>
              <a:gd name="connsiteX3-483" fmla="*/ 579722 w 7971422"/>
              <a:gd name="connsiteY3-484" fmla="*/ 6635115 h 6645336"/>
              <a:gd name="connsiteX4-485" fmla="*/ 0 w 7971422"/>
              <a:gd name="connsiteY4-486" fmla="*/ 6055393 h 6645336"/>
              <a:gd name="connsiteX5-487" fmla="*/ 0 w 7971422"/>
              <a:gd name="connsiteY5-488" fmla="*/ 1301816 h 6645336"/>
              <a:gd name="connsiteX0-489" fmla="*/ 0 w 7965616"/>
              <a:gd name="connsiteY0-490" fmla="*/ 1653 h 5345173"/>
              <a:gd name="connsiteX1-491" fmla="*/ 7957060 w 7965616"/>
              <a:gd name="connsiteY1-492" fmla="*/ 0 h 5345173"/>
              <a:gd name="connsiteX2-493" fmla="*/ 7965616 w 7965616"/>
              <a:gd name="connsiteY2-494" fmla="*/ 5345173 h 5345173"/>
              <a:gd name="connsiteX3-495" fmla="*/ 579722 w 7965616"/>
              <a:gd name="connsiteY3-496" fmla="*/ 5334952 h 5345173"/>
              <a:gd name="connsiteX4-497" fmla="*/ 0 w 7965616"/>
              <a:gd name="connsiteY4-498" fmla="*/ 4755230 h 5345173"/>
              <a:gd name="connsiteX5-499" fmla="*/ 0 w 7965616"/>
              <a:gd name="connsiteY5-500" fmla="*/ 1653 h 5345173"/>
              <a:gd name="connsiteX0-501" fmla="*/ 0 w 7971422"/>
              <a:gd name="connsiteY0-502" fmla="*/ 1653 h 5345173"/>
              <a:gd name="connsiteX1-503" fmla="*/ 7971347 w 7971422"/>
              <a:gd name="connsiteY1-504" fmla="*/ 0 h 5345173"/>
              <a:gd name="connsiteX2-505" fmla="*/ 7965616 w 7971422"/>
              <a:gd name="connsiteY2-506" fmla="*/ 5345173 h 5345173"/>
              <a:gd name="connsiteX3-507" fmla="*/ 579722 w 7971422"/>
              <a:gd name="connsiteY3-508" fmla="*/ 5334952 h 5345173"/>
              <a:gd name="connsiteX4-509" fmla="*/ 0 w 7971422"/>
              <a:gd name="connsiteY4-510" fmla="*/ 4755230 h 5345173"/>
              <a:gd name="connsiteX5-511" fmla="*/ 0 w 7971422"/>
              <a:gd name="connsiteY5-512" fmla="*/ 1653 h 5345173"/>
              <a:gd name="connsiteX0-513" fmla="*/ 0 w 7988356"/>
              <a:gd name="connsiteY0-514" fmla="*/ 187920 h 5345173"/>
              <a:gd name="connsiteX1-515" fmla="*/ 7988281 w 7988356"/>
              <a:gd name="connsiteY1-516" fmla="*/ 0 h 5345173"/>
              <a:gd name="connsiteX2-517" fmla="*/ 7982550 w 7988356"/>
              <a:gd name="connsiteY2-518" fmla="*/ 5345173 h 5345173"/>
              <a:gd name="connsiteX3-519" fmla="*/ 596656 w 7988356"/>
              <a:gd name="connsiteY3-520" fmla="*/ 5334952 h 5345173"/>
              <a:gd name="connsiteX4-521" fmla="*/ 16934 w 7988356"/>
              <a:gd name="connsiteY4-522" fmla="*/ 4755230 h 5345173"/>
              <a:gd name="connsiteX5-523" fmla="*/ 0 w 7988356"/>
              <a:gd name="connsiteY5-524" fmla="*/ 187920 h 5345173"/>
              <a:gd name="connsiteX0-525" fmla="*/ 0 w 7988356"/>
              <a:gd name="connsiteY0-526" fmla="*/ 210145 h 5345173"/>
              <a:gd name="connsiteX1-527" fmla="*/ 7988281 w 7988356"/>
              <a:gd name="connsiteY1-528" fmla="*/ 0 h 5345173"/>
              <a:gd name="connsiteX2-529" fmla="*/ 7982550 w 7988356"/>
              <a:gd name="connsiteY2-530" fmla="*/ 5345173 h 5345173"/>
              <a:gd name="connsiteX3-531" fmla="*/ 596656 w 7988356"/>
              <a:gd name="connsiteY3-532" fmla="*/ 5334952 h 5345173"/>
              <a:gd name="connsiteX4-533" fmla="*/ 16934 w 7988356"/>
              <a:gd name="connsiteY4-534" fmla="*/ 4755230 h 5345173"/>
              <a:gd name="connsiteX5-535" fmla="*/ 0 w 7988356"/>
              <a:gd name="connsiteY5-536" fmla="*/ 210145 h 5345173"/>
              <a:gd name="connsiteX0-537" fmla="*/ 0 w 7988356"/>
              <a:gd name="connsiteY0-538" fmla="*/ 0 h 5135028"/>
              <a:gd name="connsiteX1-539" fmla="*/ 7988281 w 7988356"/>
              <a:gd name="connsiteY1-540" fmla="*/ 7569 h 5135028"/>
              <a:gd name="connsiteX2-541" fmla="*/ 7982550 w 7988356"/>
              <a:gd name="connsiteY2-542" fmla="*/ 5135028 h 5135028"/>
              <a:gd name="connsiteX3-543" fmla="*/ 596656 w 7988356"/>
              <a:gd name="connsiteY3-544" fmla="*/ 5124807 h 5135028"/>
              <a:gd name="connsiteX4-545" fmla="*/ 16934 w 7988356"/>
              <a:gd name="connsiteY4-546" fmla="*/ 4545085 h 5135028"/>
              <a:gd name="connsiteX5-547" fmla="*/ 0 w 7988356"/>
              <a:gd name="connsiteY5-548" fmla="*/ 0 h 5135028"/>
              <a:gd name="connsiteX0-549" fmla="*/ 0 w 7982550"/>
              <a:gd name="connsiteY0-550" fmla="*/ 0 h 5135028"/>
              <a:gd name="connsiteX1-551" fmla="*/ 6028853 w 7982550"/>
              <a:gd name="connsiteY1-552" fmla="*/ 7569 h 5135028"/>
              <a:gd name="connsiteX2-553" fmla="*/ 7982550 w 7982550"/>
              <a:gd name="connsiteY2-554" fmla="*/ 5135028 h 5135028"/>
              <a:gd name="connsiteX3-555" fmla="*/ 596656 w 7982550"/>
              <a:gd name="connsiteY3-556" fmla="*/ 5124807 h 5135028"/>
              <a:gd name="connsiteX4-557" fmla="*/ 16934 w 7982550"/>
              <a:gd name="connsiteY4-558" fmla="*/ 4545085 h 5135028"/>
              <a:gd name="connsiteX5-559" fmla="*/ 0 w 7982550"/>
              <a:gd name="connsiteY5-560" fmla="*/ 0 h 5135028"/>
              <a:gd name="connsiteX0-561" fmla="*/ 0 w 6037636"/>
              <a:gd name="connsiteY0-562" fmla="*/ 0 h 5135028"/>
              <a:gd name="connsiteX1-563" fmla="*/ 6028853 w 6037636"/>
              <a:gd name="connsiteY1-564" fmla="*/ 7569 h 5135028"/>
              <a:gd name="connsiteX2-565" fmla="*/ 6037636 w 6037636"/>
              <a:gd name="connsiteY2-566" fmla="*/ 5135028 h 5135028"/>
              <a:gd name="connsiteX3-567" fmla="*/ 596656 w 6037636"/>
              <a:gd name="connsiteY3-568" fmla="*/ 5124807 h 5135028"/>
              <a:gd name="connsiteX4-569" fmla="*/ 16934 w 6037636"/>
              <a:gd name="connsiteY4-570" fmla="*/ 4545085 h 5135028"/>
              <a:gd name="connsiteX5-571" fmla="*/ 0 w 6037636"/>
              <a:gd name="connsiteY5-572" fmla="*/ 0 h 5135028"/>
              <a:gd name="connsiteX0-573" fmla="*/ 0 w 6028853"/>
              <a:gd name="connsiteY0-574" fmla="*/ 0 h 5124807"/>
              <a:gd name="connsiteX1-575" fmla="*/ 6028853 w 6028853"/>
              <a:gd name="connsiteY1-576" fmla="*/ 7569 h 5124807"/>
              <a:gd name="connsiteX2-577" fmla="*/ 4063693 w 6028853"/>
              <a:gd name="connsiteY2-578" fmla="*/ 5105999 h 5124807"/>
              <a:gd name="connsiteX3-579" fmla="*/ 596656 w 6028853"/>
              <a:gd name="connsiteY3-580" fmla="*/ 5124807 h 5124807"/>
              <a:gd name="connsiteX4-581" fmla="*/ 16934 w 6028853"/>
              <a:gd name="connsiteY4-582" fmla="*/ 4545085 h 5124807"/>
              <a:gd name="connsiteX5-583" fmla="*/ 0 w 6028853"/>
              <a:gd name="connsiteY5-584" fmla="*/ 0 h 5124807"/>
              <a:gd name="connsiteX0-585" fmla="*/ 0 w 4069500"/>
              <a:gd name="connsiteY0-586" fmla="*/ 0 h 5124807"/>
              <a:gd name="connsiteX1-587" fmla="*/ 4069425 w 4069500"/>
              <a:gd name="connsiteY1-588" fmla="*/ 7569 h 5124807"/>
              <a:gd name="connsiteX2-589" fmla="*/ 4063693 w 4069500"/>
              <a:gd name="connsiteY2-590" fmla="*/ 5105999 h 5124807"/>
              <a:gd name="connsiteX3-591" fmla="*/ 596656 w 4069500"/>
              <a:gd name="connsiteY3-592" fmla="*/ 5124807 h 5124807"/>
              <a:gd name="connsiteX4-593" fmla="*/ 16934 w 4069500"/>
              <a:gd name="connsiteY4-594" fmla="*/ 4545085 h 5124807"/>
              <a:gd name="connsiteX5-595" fmla="*/ 0 w 4069500"/>
              <a:gd name="connsiteY5-596" fmla="*/ 0 h 5124807"/>
              <a:gd name="connsiteX0-597" fmla="*/ 0 w 4069500"/>
              <a:gd name="connsiteY0-598" fmla="*/ 6946 h 5131753"/>
              <a:gd name="connsiteX1-599" fmla="*/ 4069425 w 4069500"/>
              <a:gd name="connsiteY1-600" fmla="*/ 0 h 5131753"/>
              <a:gd name="connsiteX2-601" fmla="*/ 4063693 w 4069500"/>
              <a:gd name="connsiteY2-602" fmla="*/ 5112945 h 5131753"/>
              <a:gd name="connsiteX3-603" fmla="*/ 596656 w 4069500"/>
              <a:gd name="connsiteY3-604" fmla="*/ 5131753 h 5131753"/>
              <a:gd name="connsiteX4-605" fmla="*/ 16934 w 4069500"/>
              <a:gd name="connsiteY4-606" fmla="*/ 4552031 h 5131753"/>
              <a:gd name="connsiteX5-607" fmla="*/ 0 w 4069500"/>
              <a:gd name="connsiteY5-608" fmla="*/ 6946 h 513175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US"/>
              <a:t>Insert Photo</a:t>
            </a:r>
            <a:endParaRPr lang="en-US"/>
          </a:p>
        </p:txBody>
      </p:sp>
      <p:sp>
        <p:nvSpPr>
          <p:cNvPr id="17"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3" name="Rectangle 22"/>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6"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7"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5" name="Text Placeholder 2"/>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8" name="Text Placeholder 6"/>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3" name="图片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2" name="Text Placeholder 6"/>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a:t>
            </a:r>
            <a:endParaRPr lang="en-US"/>
          </a:p>
        </p:txBody>
      </p:sp>
      <p:sp>
        <p:nvSpPr>
          <p:cNvPr id="11" name="Picture Placeholder 9"/>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33463"/>
              <a:gd name="connsiteX1-419" fmla="*/ 8912928 w 8915642"/>
              <a:gd name="connsiteY1-420" fmla="*/ 191388 h 6633463"/>
              <a:gd name="connsiteX2-421" fmla="*/ 8915642 w 8915642"/>
              <a:gd name="connsiteY2-422" fmla="*/ 6631809 h 6633463"/>
              <a:gd name="connsiteX3-423" fmla="*/ 579722 w 8915642"/>
              <a:gd name="connsiteY3-424" fmla="*/ 6633463 h 6633463"/>
              <a:gd name="connsiteX4-425" fmla="*/ 0 w 8915642"/>
              <a:gd name="connsiteY4-426" fmla="*/ 6053741 h 6633463"/>
              <a:gd name="connsiteX5-427" fmla="*/ 0 w 8915642"/>
              <a:gd name="connsiteY5-428" fmla="*/ 1 h 6633463"/>
              <a:gd name="connsiteX0-429" fmla="*/ 0 w 8933278"/>
              <a:gd name="connsiteY0-430" fmla="*/ 1653 h 6635115"/>
              <a:gd name="connsiteX1-431" fmla="*/ 8933248 w 8933278"/>
              <a:gd name="connsiteY1-432" fmla="*/ 0 h 6635115"/>
              <a:gd name="connsiteX2-433" fmla="*/ 8915642 w 8933278"/>
              <a:gd name="connsiteY2-434" fmla="*/ 6633461 h 6635115"/>
              <a:gd name="connsiteX3-435" fmla="*/ 579722 w 8933278"/>
              <a:gd name="connsiteY3-436" fmla="*/ 6635115 h 6635115"/>
              <a:gd name="connsiteX4-437" fmla="*/ 0 w 8933278"/>
              <a:gd name="connsiteY4-438" fmla="*/ 6055393 h 6635115"/>
              <a:gd name="connsiteX5-439" fmla="*/ 0 w 8933278"/>
              <a:gd name="connsiteY5-440" fmla="*/ 1653 h 6635115"/>
              <a:gd name="connsiteX0-441" fmla="*/ 0 w 8933323"/>
              <a:gd name="connsiteY0-442" fmla="*/ 1653 h 6645336"/>
              <a:gd name="connsiteX1-443" fmla="*/ 8933248 w 8933323"/>
              <a:gd name="connsiteY1-444" fmla="*/ 0 h 6645336"/>
              <a:gd name="connsiteX2-445" fmla="*/ 8927517 w 8933323"/>
              <a:gd name="connsiteY2-446" fmla="*/ 6645336 h 6645336"/>
              <a:gd name="connsiteX3-447" fmla="*/ 579722 w 8933323"/>
              <a:gd name="connsiteY3-448" fmla="*/ 6635115 h 6645336"/>
              <a:gd name="connsiteX4-449" fmla="*/ 0 w 8933323"/>
              <a:gd name="connsiteY4-450" fmla="*/ 6055393 h 6645336"/>
              <a:gd name="connsiteX5-451" fmla="*/ 0 w 8933323"/>
              <a:gd name="connsiteY5-452" fmla="*/ 1653 h 6645336"/>
              <a:gd name="connsiteX0-453" fmla="*/ 0 w 8927517"/>
              <a:gd name="connsiteY0-454" fmla="*/ 1653 h 6645336"/>
              <a:gd name="connsiteX1-455" fmla="*/ 7971347 w 8927517"/>
              <a:gd name="connsiteY1-456" fmla="*/ 0 h 6645336"/>
              <a:gd name="connsiteX2-457" fmla="*/ 8927517 w 8927517"/>
              <a:gd name="connsiteY2-458" fmla="*/ 6645336 h 6645336"/>
              <a:gd name="connsiteX3-459" fmla="*/ 579722 w 8927517"/>
              <a:gd name="connsiteY3-460" fmla="*/ 6635115 h 6645336"/>
              <a:gd name="connsiteX4-461" fmla="*/ 0 w 8927517"/>
              <a:gd name="connsiteY4-462" fmla="*/ 6055393 h 6645336"/>
              <a:gd name="connsiteX5-463" fmla="*/ 0 w 8927517"/>
              <a:gd name="connsiteY5-464" fmla="*/ 1653 h 6645336"/>
              <a:gd name="connsiteX0-465" fmla="*/ 0 w 7971422"/>
              <a:gd name="connsiteY0-466" fmla="*/ 1653 h 6645336"/>
              <a:gd name="connsiteX1-467" fmla="*/ 7971347 w 7971422"/>
              <a:gd name="connsiteY1-468" fmla="*/ 0 h 6645336"/>
              <a:gd name="connsiteX2-469" fmla="*/ 7965616 w 7971422"/>
              <a:gd name="connsiteY2-470" fmla="*/ 6645336 h 6645336"/>
              <a:gd name="connsiteX3-471" fmla="*/ 579722 w 7971422"/>
              <a:gd name="connsiteY3-472" fmla="*/ 6635115 h 6645336"/>
              <a:gd name="connsiteX4-473" fmla="*/ 0 w 7971422"/>
              <a:gd name="connsiteY4-474" fmla="*/ 6055393 h 6645336"/>
              <a:gd name="connsiteX5-475" fmla="*/ 0 w 7971422"/>
              <a:gd name="connsiteY5-476" fmla="*/ 1653 h 6645336"/>
              <a:gd name="connsiteX0-477" fmla="*/ 0 w 7971422"/>
              <a:gd name="connsiteY0-478" fmla="*/ 1301816 h 6645336"/>
              <a:gd name="connsiteX1-479" fmla="*/ 7971347 w 7971422"/>
              <a:gd name="connsiteY1-480" fmla="*/ 0 h 6645336"/>
              <a:gd name="connsiteX2-481" fmla="*/ 7965616 w 7971422"/>
              <a:gd name="connsiteY2-482" fmla="*/ 6645336 h 6645336"/>
              <a:gd name="connsiteX3-483" fmla="*/ 579722 w 7971422"/>
              <a:gd name="connsiteY3-484" fmla="*/ 6635115 h 6645336"/>
              <a:gd name="connsiteX4-485" fmla="*/ 0 w 7971422"/>
              <a:gd name="connsiteY4-486" fmla="*/ 6055393 h 6645336"/>
              <a:gd name="connsiteX5-487" fmla="*/ 0 w 7971422"/>
              <a:gd name="connsiteY5-488" fmla="*/ 1301816 h 6645336"/>
              <a:gd name="connsiteX0-489" fmla="*/ 0 w 7965616"/>
              <a:gd name="connsiteY0-490" fmla="*/ 1653 h 5345173"/>
              <a:gd name="connsiteX1-491" fmla="*/ 7957060 w 7965616"/>
              <a:gd name="connsiteY1-492" fmla="*/ 0 h 5345173"/>
              <a:gd name="connsiteX2-493" fmla="*/ 7965616 w 7965616"/>
              <a:gd name="connsiteY2-494" fmla="*/ 5345173 h 5345173"/>
              <a:gd name="connsiteX3-495" fmla="*/ 579722 w 7965616"/>
              <a:gd name="connsiteY3-496" fmla="*/ 5334952 h 5345173"/>
              <a:gd name="connsiteX4-497" fmla="*/ 0 w 7965616"/>
              <a:gd name="connsiteY4-498" fmla="*/ 4755230 h 5345173"/>
              <a:gd name="connsiteX5-499" fmla="*/ 0 w 7965616"/>
              <a:gd name="connsiteY5-500" fmla="*/ 1653 h 5345173"/>
              <a:gd name="connsiteX0-501" fmla="*/ 0 w 7971422"/>
              <a:gd name="connsiteY0-502" fmla="*/ 1653 h 5345173"/>
              <a:gd name="connsiteX1-503" fmla="*/ 7971347 w 7971422"/>
              <a:gd name="connsiteY1-504" fmla="*/ 0 h 5345173"/>
              <a:gd name="connsiteX2-505" fmla="*/ 7965616 w 7971422"/>
              <a:gd name="connsiteY2-506" fmla="*/ 5345173 h 5345173"/>
              <a:gd name="connsiteX3-507" fmla="*/ 579722 w 7971422"/>
              <a:gd name="connsiteY3-508" fmla="*/ 5334952 h 5345173"/>
              <a:gd name="connsiteX4-509" fmla="*/ 0 w 7971422"/>
              <a:gd name="connsiteY4-510" fmla="*/ 4755230 h 5345173"/>
              <a:gd name="connsiteX5-511" fmla="*/ 0 w 7971422"/>
              <a:gd name="connsiteY5-512" fmla="*/ 1653 h 5345173"/>
              <a:gd name="connsiteX0-513" fmla="*/ 0 w 7988356"/>
              <a:gd name="connsiteY0-514" fmla="*/ 187920 h 5345173"/>
              <a:gd name="connsiteX1-515" fmla="*/ 7988281 w 7988356"/>
              <a:gd name="connsiteY1-516" fmla="*/ 0 h 5345173"/>
              <a:gd name="connsiteX2-517" fmla="*/ 7982550 w 7988356"/>
              <a:gd name="connsiteY2-518" fmla="*/ 5345173 h 5345173"/>
              <a:gd name="connsiteX3-519" fmla="*/ 596656 w 7988356"/>
              <a:gd name="connsiteY3-520" fmla="*/ 5334952 h 5345173"/>
              <a:gd name="connsiteX4-521" fmla="*/ 16934 w 7988356"/>
              <a:gd name="connsiteY4-522" fmla="*/ 4755230 h 5345173"/>
              <a:gd name="connsiteX5-523" fmla="*/ 0 w 7988356"/>
              <a:gd name="connsiteY5-524" fmla="*/ 187920 h 5345173"/>
              <a:gd name="connsiteX0-525" fmla="*/ 0 w 7988356"/>
              <a:gd name="connsiteY0-526" fmla="*/ 210145 h 5345173"/>
              <a:gd name="connsiteX1-527" fmla="*/ 7988281 w 7988356"/>
              <a:gd name="connsiteY1-528" fmla="*/ 0 h 5345173"/>
              <a:gd name="connsiteX2-529" fmla="*/ 7982550 w 7988356"/>
              <a:gd name="connsiteY2-530" fmla="*/ 5345173 h 5345173"/>
              <a:gd name="connsiteX3-531" fmla="*/ 596656 w 7988356"/>
              <a:gd name="connsiteY3-532" fmla="*/ 5334952 h 5345173"/>
              <a:gd name="connsiteX4-533" fmla="*/ 16934 w 7988356"/>
              <a:gd name="connsiteY4-534" fmla="*/ 4755230 h 5345173"/>
              <a:gd name="connsiteX5-535" fmla="*/ 0 w 7988356"/>
              <a:gd name="connsiteY5-536" fmla="*/ 210145 h 5345173"/>
              <a:gd name="connsiteX0-537" fmla="*/ 0 w 7988356"/>
              <a:gd name="connsiteY0-538" fmla="*/ 0 h 5135028"/>
              <a:gd name="connsiteX1-539" fmla="*/ 7988281 w 7988356"/>
              <a:gd name="connsiteY1-540" fmla="*/ 7569 h 5135028"/>
              <a:gd name="connsiteX2-541" fmla="*/ 7982550 w 7988356"/>
              <a:gd name="connsiteY2-542" fmla="*/ 5135028 h 5135028"/>
              <a:gd name="connsiteX3-543" fmla="*/ 596656 w 7988356"/>
              <a:gd name="connsiteY3-544" fmla="*/ 5124807 h 5135028"/>
              <a:gd name="connsiteX4-545" fmla="*/ 16934 w 7988356"/>
              <a:gd name="connsiteY4-546" fmla="*/ 4545085 h 5135028"/>
              <a:gd name="connsiteX5-547" fmla="*/ 0 w 7988356"/>
              <a:gd name="connsiteY5-548" fmla="*/ 0 h 5135028"/>
              <a:gd name="connsiteX0-549" fmla="*/ 0 w 7982550"/>
              <a:gd name="connsiteY0-550" fmla="*/ 0 h 5135028"/>
              <a:gd name="connsiteX1-551" fmla="*/ 6028853 w 7982550"/>
              <a:gd name="connsiteY1-552" fmla="*/ 7569 h 5135028"/>
              <a:gd name="connsiteX2-553" fmla="*/ 7982550 w 7982550"/>
              <a:gd name="connsiteY2-554" fmla="*/ 5135028 h 5135028"/>
              <a:gd name="connsiteX3-555" fmla="*/ 596656 w 7982550"/>
              <a:gd name="connsiteY3-556" fmla="*/ 5124807 h 5135028"/>
              <a:gd name="connsiteX4-557" fmla="*/ 16934 w 7982550"/>
              <a:gd name="connsiteY4-558" fmla="*/ 4545085 h 5135028"/>
              <a:gd name="connsiteX5-559" fmla="*/ 0 w 7982550"/>
              <a:gd name="connsiteY5-560" fmla="*/ 0 h 5135028"/>
              <a:gd name="connsiteX0-561" fmla="*/ 0 w 6037636"/>
              <a:gd name="connsiteY0-562" fmla="*/ 0 h 5135028"/>
              <a:gd name="connsiteX1-563" fmla="*/ 6028853 w 6037636"/>
              <a:gd name="connsiteY1-564" fmla="*/ 7569 h 5135028"/>
              <a:gd name="connsiteX2-565" fmla="*/ 6037636 w 6037636"/>
              <a:gd name="connsiteY2-566" fmla="*/ 5135028 h 5135028"/>
              <a:gd name="connsiteX3-567" fmla="*/ 596656 w 6037636"/>
              <a:gd name="connsiteY3-568" fmla="*/ 5124807 h 5135028"/>
              <a:gd name="connsiteX4-569" fmla="*/ 16934 w 6037636"/>
              <a:gd name="connsiteY4-570" fmla="*/ 4545085 h 5135028"/>
              <a:gd name="connsiteX5-571" fmla="*/ 0 w 6037636"/>
              <a:gd name="connsiteY5-572" fmla="*/ 0 h 5135028"/>
              <a:gd name="connsiteX0-573" fmla="*/ 0 w 6028853"/>
              <a:gd name="connsiteY0-574" fmla="*/ 0 h 5124807"/>
              <a:gd name="connsiteX1-575" fmla="*/ 6028853 w 6028853"/>
              <a:gd name="connsiteY1-576" fmla="*/ 7569 h 5124807"/>
              <a:gd name="connsiteX2-577" fmla="*/ 4063693 w 6028853"/>
              <a:gd name="connsiteY2-578" fmla="*/ 5105999 h 5124807"/>
              <a:gd name="connsiteX3-579" fmla="*/ 596656 w 6028853"/>
              <a:gd name="connsiteY3-580" fmla="*/ 5124807 h 5124807"/>
              <a:gd name="connsiteX4-581" fmla="*/ 16934 w 6028853"/>
              <a:gd name="connsiteY4-582" fmla="*/ 4545085 h 5124807"/>
              <a:gd name="connsiteX5-583" fmla="*/ 0 w 6028853"/>
              <a:gd name="connsiteY5-584" fmla="*/ 0 h 5124807"/>
              <a:gd name="connsiteX0-585" fmla="*/ 0 w 4069500"/>
              <a:gd name="connsiteY0-586" fmla="*/ 0 h 5124807"/>
              <a:gd name="connsiteX1-587" fmla="*/ 4069425 w 4069500"/>
              <a:gd name="connsiteY1-588" fmla="*/ 7569 h 5124807"/>
              <a:gd name="connsiteX2-589" fmla="*/ 4063693 w 4069500"/>
              <a:gd name="connsiteY2-590" fmla="*/ 5105999 h 5124807"/>
              <a:gd name="connsiteX3-591" fmla="*/ 596656 w 4069500"/>
              <a:gd name="connsiteY3-592" fmla="*/ 5124807 h 5124807"/>
              <a:gd name="connsiteX4-593" fmla="*/ 16934 w 4069500"/>
              <a:gd name="connsiteY4-594" fmla="*/ 4545085 h 5124807"/>
              <a:gd name="connsiteX5-595" fmla="*/ 0 w 4069500"/>
              <a:gd name="connsiteY5-596" fmla="*/ 0 h 5124807"/>
              <a:gd name="connsiteX0-597" fmla="*/ 0 w 4069500"/>
              <a:gd name="connsiteY0-598" fmla="*/ 6946 h 5131753"/>
              <a:gd name="connsiteX1-599" fmla="*/ 4069425 w 4069500"/>
              <a:gd name="connsiteY1-600" fmla="*/ 0 h 5131753"/>
              <a:gd name="connsiteX2-601" fmla="*/ 4063693 w 4069500"/>
              <a:gd name="connsiteY2-602" fmla="*/ 5112945 h 5131753"/>
              <a:gd name="connsiteX3-603" fmla="*/ 596656 w 4069500"/>
              <a:gd name="connsiteY3-604" fmla="*/ 5131753 h 5131753"/>
              <a:gd name="connsiteX4-605" fmla="*/ 16934 w 4069500"/>
              <a:gd name="connsiteY4-606" fmla="*/ 4552031 h 5131753"/>
              <a:gd name="connsiteX5-607" fmla="*/ 0 w 4069500"/>
              <a:gd name="connsiteY5-608" fmla="*/ 6946 h 5131753"/>
              <a:gd name="connsiteX0-609" fmla="*/ 0 w 4082753"/>
              <a:gd name="connsiteY0-610" fmla="*/ 2 h 6874096"/>
              <a:gd name="connsiteX1-611" fmla="*/ 4082678 w 4082753"/>
              <a:gd name="connsiteY1-612" fmla="*/ 1742343 h 6874096"/>
              <a:gd name="connsiteX2-613" fmla="*/ 4076946 w 4082753"/>
              <a:gd name="connsiteY2-614" fmla="*/ 6855288 h 6874096"/>
              <a:gd name="connsiteX3-615" fmla="*/ 609909 w 4082753"/>
              <a:gd name="connsiteY3-616" fmla="*/ 6874096 h 6874096"/>
              <a:gd name="connsiteX4-617" fmla="*/ 30187 w 4082753"/>
              <a:gd name="connsiteY4-618" fmla="*/ 6294374 h 6874096"/>
              <a:gd name="connsiteX5-619" fmla="*/ 0 w 4082753"/>
              <a:gd name="connsiteY5-620" fmla="*/ 2 h 6874096"/>
              <a:gd name="connsiteX0-621" fmla="*/ 0 w 4095958"/>
              <a:gd name="connsiteY0-622" fmla="*/ 6946 h 6881040"/>
              <a:gd name="connsiteX1-623" fmla="*/ 4095930 w 4095958"/>
              <a:gd name="connsiteY1-624" fmla="*/ 0 h 6881040"/>
              <a:gd name="connsiteX2-625" fmla="*/ 4076946 w 4095958"/>
              <a:gd name="connsiteY2-626" fmla="*/ 6862232 h 6881040"/>
              <a:gd name="connsiteX3-627" fmla="*/ 609909 w 4095958"/>
              <a:gd name="connsiteY3-628" fmla="*/ 6881040 h 6881040"/>
              <a:gd name="connsiteX4-629" fmla="*/ 30187 w 4095958"/>
              <a:gd name="connsiteY4-630" fmla="*/ 6301318 h 6881040"/>
              <a:gd name="connsiteX5-631" fmla="*/ 0 w 4095958"/>
              <a:gd name="connsiteY5-632" fmla="*/ 6946 h 6881040"/>
              <a:gd name="connsiteX0-633" fmla="*/ 0 w 4076946"/>
              <a:gd name="connsiteY0-634" fmla="*/ 0 h 6874094"/>
              <a:gd name="connsiteX1-635" fmla="*/ 3870643 w 4076946"/>
              <a:gd name="connsiteY1-636" fmla="*/ 191837 h 6874094"/>
              <a:gd name="connsiteX2-637" fmla="*/ 4076946 w 4076946"/>
              <a:gd name="connsiteY2-638" fmla="*/ 6855286 h 6874094"/>
              <a:gd name="connsiteX3-639" fmla="*/ 609909 w 4076946"/>
              <a:gd name="connsiteY3-640" fmla="*/ 6874094 h 6874094"/>
              <a:gd name="connsiteX4-641" fmla="*/ 30187 w 4076946"/>
              <a:gd name="connsiteY4-642" fmla="*/ 6294372 h 6874094"/>
              <a:gd name="connsiteX5-643" fmla="*/ 0 w 4076946"/>
              <a:gd name="connsiteY5-644" fmla="*/ 0 h 6874094"/>
              <a:gd name="connsiteX0-645" fmla="*/ 0 w 4076946"/>
              <a:gd name="connsiteY0-646" fmla="*/ 0 h 6874094"/>
              <a:gd name="connsiteX1-647" fmla="*/ 4069426 w 4076946"/>
              <a:gd name="connsiteY1-648" fmla="*/ 19559 h 6874094"/>
              <a:gd name="connsiteX2-649" fmla="*/ 4076946 w 4076946"/>
              <a:gd name="connsiteY2-650" fmla="*/ 6855286 h 6874094"/>
              <a:gd name="connsiteX3-651" fmla="*/ 609909 w 4076946"/>
              <a:gd name="connsiteY3-652" fmla="*/ 6874094 h 6874094"/>
              <a:gd name="connsiteX4-653" fmla="*/ 30187 w 4076946"/>
              <a:gd name="connsiteY4-654" fmla="*/ 6294372 h 6874094"/>
              <a:gd name="connsiteX5-655" fmla="*/ 0 w 4076946"/>
              <a:gd name="connsiteY5-656" fmla="*/ 0 h 6874094"/>
              <a:gd name="connsiteX0-657" fmla="*/ 0 w 4076946"/>
              <a:gd name="connsiteY0-658" fmla="*/ 99710 h 6854535"/>
              <a:gd name="connsiteX1-659" fmla="*/ 4069426 w 4076946"/>
              <a:gd name="connsiteY1-660" fmla="*/ 0 h 6854535"/>
              <a:gd name="connsiteX2-661" fmla="*/ 4076946 w 4076946"/>
              <a:gd name="connsiteY2-662" fmla="*/ 6835727 h 6854535"/>
              <a:gd name="connsiteX3-663" fmla="*/ 609909 w 4076946"/>
              <a:gd name="connsiteY3-664" fmla="*/ 6854535 h 6854535"/>
              <a:gd name="connsiteX4-665" fmla="*/ 30187 w 4076946"/>
              <a:gd name="connsiteY4-666" fmla="*/ 6274813 h 6854535"/>
              <a:gd name="connsiteX5-667" fmla="*/ 0 w 4076946"/>
              <a:gd name="connsiteY5-668" fmla="*/ 99710 h 6854535"/>
              <a:gd name="connsiteX0-669" fmla="*/ 0 w 4076946"/>
              <a:gd name="connsiteY0-670" fmla="*/ 0 h 6860842"/>
              <a:gd name="connsiteX1-671" fmla="*/ 4069426 w 4076946"/>
              <a:gd name="connsiteY1-672" fmla="*/ 6307 h 6860842"/>
              <a:gd name="connsiteX2-673" fmla="*/ 4076946 w 4076946"/>
              <a:gd name="connsiteY2-674" fmla="*/ 6842034 h 6860842"/>
              <a:gd name="connsiteX3-675" fmla="*/ 609909 w 4076946"/>
              <a:gd name="connsiteY3-676" fmla="*/ 6860842 h 6860842"/>
              <a:gd name="connsiteX4-677" fmla="*/ 30187 w 4076946"/>
              <a:gd name="connsiteY4-678" fmla="*/ 6281120 h 6860842"/>
              <a:gd name="connsiteX5-679" fmla="*/ 0 w 4076946"/>
              <a:gd name="connsiteY5-680" fmla="*/ 0 h 686084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US"/>
              <a:t>Insert Photo</a:t>
            </a:r>
            <a:endParaRPr lang="en-US"/>
          </a:p>
        </p:txBody>
      </p:sp>
      <p:sp>
        <p:nvSpPr>
          <p:cNvPr id="17" name="タイトル プレースホルダ 1"/>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1"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2"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9" name="Text Placeholder 2"/>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20" name="Text Placeholder 6"/>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spTree>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18553"/>
              <a:gd name="connsiteX1-419" fmla="*/ 8912928 w 8915642"/>
              <a:gd name="connsiteY1-420" fmla="*/ 176478 h 6618553"/>
              <a:gd name="connsiteX2-421" fmla="*/ 8915642 w 8915642"/>
              <a:gd name="connsiteY2-422" fmla="*/ 6616899 h 6618553"/>
              <a:gd name="connsiteX3-423" fmla="*/ 579722 w 8915642"/>
              <a:gd name="connsiteY3-424" fmla="*/ 6618553 h 6618553"/>
              <a:gd name="connsiteX4-425" fmla="*/ 0 w 8915642"/>
              <a:gd name="connsiteY4-426" fmla="*/ 6038831 h 6618553"/>
              <a:gd name="connsiteX5-427" fmla="*/ 0 w 8915642"/>
              <a:gd name="connsiteY5-428" fmla="*/ 1 h 6618553"/>
              <a:gd name="connsiteX0-429" fmla="*/ 0 w 8915642"/>
              <a:gd name="connsiteY0-430" fmla="*/ 25404 h 6643956"/>
              <a:gd name="connsiteX1-431" fmla="*/ 6015348 w 8915642"/>
              <a:gd name="connsiteY1-432" fmla="*/ 0 h 6643956"/>
              <a:gd name="connsiteX2-433" fmla="*/ 8915642 w 8915642"/>
              <a:gd name="connsiteY2-434" fmla="*/ 6642302 h 6643956"/>
              <a:gd name="connsiteX3-435" fmla="*/ 579722 w 8915642"/>
              <a:gd name="connsiteY3-436" fmla="*/ 6643956 h 6643956"/>
              <a:gd name="connsiteX4-437" fmla="*/ 0 w 8915642"/>
              <a:gd name="connsiteY4-438" fmla="*/ 6064234 h 6643956"/>
              <a:gd name="connsiteX5-439" fmla="*/ 0 w 8915642"/>
              <a:gd name="connsiteY5-440" fmla="*/ 25404 h 6643956"/>
              <a:gd name="connsiteX0-441" fmla="*/ 0 w 8915642"/>
              <a:gd name="connsiteY0-442" fmla="*/ 1653 h 6620205"/>
              <a:gd name="connsiteX1-443" fmla="*/ 6003473 w 8915642"/>
              <a:gd name="connsiteY1-444" fmla="*/ 0 h 6620205"/>
              <a:gd name="connsiteX2-445" fmla="*/ 8915642 w 8915642"/>
              <a:gd name="connsiteY2-446" fmla="*/ 6618551 h 6620205"/>
              <a:gd name="connsiteX3-447" fmla="*/ 579722 w 8915642"/>
              <a:gd name="connsiteY3-448" fmla="*/ 6620205 h 6620205"/>
              <a:gd name="connsiteX4-449" fmla="*/ 0 w 8915642"/>
              <a:gd name="connsiteY4-450" fmla="*/ 6040483 h 6620205"/>
              <a:gd name="connsiteX5-451" fmla="*/ 0 w 8915642"/>
              <a:gd name="connsiteY5-452" fmla="*/ 1653 h 6620205"/>
              <a:gd name="connsiteX0-453" fmla="*/ 0 w 8915642"/>
              <a:gd name="connsiteY0-454" fmla="*/ 96656 h 6620205"/>
              <a:gd name="connsiteX1-455" fmla="*/ 6003473 w 8915642"/>
              <a:gd name="connsiteY1-456" fmla="*/ 0 h 6620205"/>
              <a:gd name="connsiteX2-457" fmla="*/ 8915642 w 8915642"/>
              <a:gd name="connsiteY2-458" fmla="*/ 6618551 h 6620205"/>
              <a:gd name="connsiteX3-459" fmla="*/ 579722 w 8915642"/>
              <a:gd name="connsiteY3-460" fmla="*/ 6620205 h 6620205"/>
              <a:gd name="connsiteX4-461" fmla="*/ 0 w 8915642"/>
              <a:gd name="connsiteY4-462" fmla="*/ 6040483 h 6620205"/>
              <a:gd name="connsiteX5-463" fmla="*/ 0 w 8915642"/>
              <a:gd name="connsiteY5-464" fmla="*/ 96656 h 6620205"/>
              <a:gd name="connsiteX0-465" fmla="*/ 0 w 8915642"/>
              <a:gd name="connsiteY0-466" fmla="*/ 0 h 6642302"/>
              <a:gd name="connsiteX1-467" fmla="*/ 6003473 w 8915642"/>
              <a:gd name="connsiteY1-468" fmla="*/ 22097 h 6642302"/>
              <a:gd name="connsiteX2-469" fmla="*/ 8915642 w 8915642"/>
              <a:gd name="connsiteY2-470" fmla="*/ 6640648 h 6642302"/>
              <a:gd name="connsiteX3-471" fmla="*/ 579722 w 8915642"/>
              <a:gd name="connsiteY3-472" fmla="*/ 6642302 h 6642302"/>
              <a:gd name="connsiteX4-473" fmla="*/ 0 w 8915642"/>
              <a:gd name="connsiteY4-474" fmla="*/ 6062580 h 6642302"/>
              <a:gd name="connsiteX5-475" fmla="*/ 0 w 8915642"/>
              <a:gd name="connsiteY5-476" fmla="*/ 0 h 6642302"/>
              <a:gd name="connsiteX0-477" fmla="*/ 0 w 8915642"/>
              <a:gd name="connsiteY0-478" fmla="*/ 0 h 6642302"/>
              <a:gd name="connsiteX1-479" fmla="*/ 5932221 w 8915642"/>
              <a:gd name="connsiteY1-480" fmla="*/ 152725 h 6642302"/>
              <a:gd name="connsiteX2-481" fmla="*/ 8915642 w 8915642"/>
              <a:gd name="connsiteY2-482" fmla="*/ 6640648 h 6642302"/>
              <a:gd name="connsiteX3-483" fmla="*/ 579722 w 8915642"/>
              <a:gd name="connsiteY3-484" fmla="*/ 6642302 h 6642302"/>
              <a:gd name="connsiteX4-485" fmla="*/ 0 w 8915642"/>
              <a:gd name="connsiteY4-486" fmla="*/ 6062580 h 6642302"/>
              <a:gd name="connsiteX5-487" fmla="*/ 0 w 8915642"/>
              <a:gd name="connsiteY5-488" fmla="*/ 0 h 6642302"/>
              <a:gd name="connsiteX0-489" fmla="*/ 0 w 8915642"/>
              <a:gd name="connsiteY0-490" fmla="*/ 1654 h 6643956"/>
              <a:gd name="connsiteX1-491" fmla="*/ 6003473 w 8915642"/>
              <a:gd name="connsiteY1-492" fmla="*/ 0 h 6643956"/>
              <a:gd name="connsiteX2-493" fmla="*/ 8915642 w 8915642"/>
              <a:gd name="connsiteY2-494" fmla="*/ 6642302 h 6643956"/>
              <a:gd name="connsiteX3-495" fmla="*/ 579722 w 8915642"/>
              <a:gd name="connsiteY3-496" fmla="*/ 6643956 h 6643956"/>
              <a:gd name="connsiteX4-497" fmla="*/ 0 w 8915642"/>
              <a:gd name="connsiteY4-498" fmla="*/ 6064234 h 6643956"/>
              <a:gd name="connsiteX5-499" fmla="*/ 0 w 8915642"/>
              <a:gd name="connsiteY5-500" fmla="*/ 1654 h 6643956"/>
              <a:gd name="connsiteX0-501" fmla="*/ 0 w 6018062"/>
              <a:gd name="connsiteY0-502" fmla="*/ 1654 h 6654178"/>
              <a:gd name="connsiteX1-503" fmla="*/ 6003473 w 6018062"/>
              <a:gd name="connsiteY1-504" fmla="*/ 0 h 6654178"/>
              <a:gd name="connsiteX2-505" fmla="*/ 6018062 w 6018062"/>
              <a:gd name="connsiteY2-506" fmla="*/ 6654178 h 6654178"/>
              <a:gd name="connsiteX3-507" fmla="*/ 579722 w 6018062"/>
              <a:gd name="connsiteY3-508" fmla="*/ 6643956 h 6654178"/>
              <a:gd name="connsiteX4-509" fmla="*/ 0 w 6018062"/>
              <a:gd name="connsiteY4-510" fmla="*/ 6064234 h 6654178"/>
              <a:gd name="connsiteX5-511" fmla="*/ 0 w 6018062"/>
              <a:gd name="connsiteY5-512" fmla="*/ 1654 h 6654178"/>
              <a:gd name="connsiteX0-513" fmla="*/ 0 w 6018062"/>
              <a:gd name="connsiteY0-514" fmla="*/ 203535 h 6654178"/>
              <a:gd name="connsiteX1-515" fmla="*/ 6003473 w 6018062"/>
              <a:gd name="connsiteY1-516" fmla="*/ 0 h 6654178"/>
              <a:gd name="connsiteX2-517" fmla="*/ 6018062 w 6018062"/>
              <a:gd name="connsiteY2-518" fmla="*/ 6654178 h 6654178"/>
              <a:gd name="connsiteX3-519" fmla="*/ 579722 w 6018062"/>
              <a:gd name="connsiteY3-520" fmla="*/ 6643956 h 6654178"/>
              <a:gd name="connsiteX4-521" fmla="*/ 0 w 6018062"/>
              <a:gd name="connsiteY4-522" fmla="*/ 6064234 h 6654178"/>
              <a:gd name="connsiteX5-523" fmla="*/ 0 w 6018062"/>
              <a:gd name="connsiteY5-524" fmla="*/ 203535 h 6654178"/>
              <a:gd name="connsiteX0-525" fmla="*/ 0 w 6018062"/>
              <a:gd name="connsiteY0-526" fmla="*/ 1655 h 6452298"/>
              <a:gd name="connsiteX1-527" fmla="*/ 4055920 w 6018062"/>
              <a:gd name="connsiteY1-528" fmla="*/ 0 h 6452298"/>
              <a:gd name="connsiteX2-529" fmla="*/ 6018062 w 6018062"/>
              <a:gd name="connsiteY2-530" fmla="*/ 6452298 h 6452298"/>
              <a:gd name="connsiteX3-531" fmla="*/ 579722 w 6018062"/>
              <a:gd name="connsiteY3-532" fmla="*/ 6442076 h 6452298"/>
              <a:gd name="connsiteX4-533" fmla="*/ 0 w 6018062"/>
              <a:gd name="connsiteY4-534" fmla="*/ 5862354 h 6452298"/>
              <a:gd name="connsiteX5-535" fmla="*/ 0 w 6018062"/>
              <a:gd name="connsiteY5-536" fmla="*/ 1655 h 6452298"/>
              <a:gd name="connsiteX0-537" fmla="*/ 0 w 4055973"/>
              <a:gd name="connsiteY0-538" fmla="*/ 1655 h 6452298"/>
              <a:gd name="connsiteX1-539" fmla="*/ 4055920 w 4055973"/>
              <a:gd name="connsiteY1-540" fmla="*/ 0 h 6452298"/>
              <a:gd name="connsiteX2-541" fmla="*/ 4046758 w 4055973"/>
              <a:gd name="connsiteY2-542" fmla="*/ 6452298 h 6452298"/>
              <a:gd name="connsiteX3-543" fmla="*/ 579722 w 4055973"/>
              <a:gd name="connsiteY3-544" fmla="*/ 6442076 h 6452298"/>
              <a:gd name="connsiteX4-545" fmla="*/ 0 w 4055973"/>
              <a:gd name="connsiteY4-546" fmla="*/ 5862354 h 6452298"/>
              <a:gd name="connsiteX5-547" fmla="*/ 0 w 4055973"/>
              <a:gd name="connsiteY5-548" fmla="*/ 1655 h 6452298"/>
              <a:gd name="connsiteX0-549" fmla="*/ 0 w 4055973"/>
              <a:gd name="connsiteY0-550" fmla="*/ 0 h 6652523"/>
              <a:gd name="connsiteX1-551" fmla="*/ 4055920 w 4055973"/>
              <a:gd name="connsiteY1-552" fmla="*/ 200225 h 6652523"/>
              <a:gd name="connsiteX2-553" fmla="*/ 4046758 w 4055973"/>
              <a:gd name="connsiteY2-554" fmla="*/ 6652523 h 6652523"/>
              <a:gd name="connsiteX3-555" fmla="*/ 579722 w 4055973"/>
              <a:gd name="connsiteY3-556" fmla="*/ 6642301 h 6652523"/>
              <a:gd name="connsiteX4-557" fmla="*/ 0 w 4055973"/>
              <a:gd name="connsiteY4-558" fmla="*/ 6062579 h 6652523"/>
              <a:gd name="connsiteX5-559" fmla="*/ 0 w 4055973"/>
              <a:gd name="connsiteY5-560" fmla="*/ 0 h 6652523"/>
              <a:gd name="connsiteX0-561" fmla="*/ 0 w 4046758"/>
              <a:gd name="connsiteY0-562" fmla="*/ 0 h 6652523"/>
              <a:gd name="connsiteX1-563" fmla="*/ 4044045 w 4046758"/>
              <a:gd name="connsiteY1-564" fmla="*/ 10220 h 6652523"/>
              <a:gd name="connsiteX2-565" fmla="*/ 4046758 w 4046758"/>
              <a:gd name="connsiteY2-566" fmla="*/ 6652523 h 6652523"/>
              <a:gd name="connsiteX3-567" fmla="*/ 579722 w 4046758"/>
              <a:gd name="connsiteY3-568" fmla="*/ 6642301 h 6652523"/>
              <a:gd name="connsiteX4-569" fmla="*/ 0 w 4046758"/>
              <a:gd name="connsiteY4-570" fmla="*/ 6062579 h 6652523"/>
              <a:gd name="connsiteX5-571" fmla="*/ 0 w 4046758"/>
              <a:gd name="connsiteY5-572" fmla="*/ 0 h 6652523"/>
              <a:gd name="connsiteX0-573" fmla="*/ 0 w 4046758"/>
              <a:gd name="connsiteY0-574" fmla="*/ 1655 h 6654178"/>
              <a:gd name="connsiteX1-575" fmla="*/ 3082144 w 4046758"/>
              <a:gd name="connsiteY1-576" fmla="*/ 0 h 6654178"/>
              <a:gd name="connsiteX2-577" fmla="*/ 4046758 w 4046758"/>
              <a:gd name="connsiteY2-578" fmla="*/ 6654178 h 6654178"/>
              <a:gd name="connsiteX3-579" fmla="*/ 579722 w 4046758"/>
              <a:gd name="connsiteY3-580" fmla="*/ 6643956 h 6654178"/>
              <a:gd name="connsiteX4-581" fmla="*/ 0 w 4046758"/>
              <a:gd name="connsiteY4-582" fmla="*/ 6064234 h 6654178"/>
              <a:gd name="connsiteX5-583" fmla="*/ 0 w 4046758"/>
              <a:gd name="connsiteY5-584" fmla="*/ 1655 h 6654178"/>
              <a:gd name="connsiteX0-585" fmla="*/ 0 w 4046758"/>
              <a:gd name="connsiteY0-586" fmla="*/ 0 h 6652523"/>
              <a:gd name="connsiteX1-587" fmla="*/ 2975266 w 4046758"/>
              <a:gd name="connsiteY1-588" fmla="*/ 93348 h 6652523"/>
              <a:gd name="connsiteX2-589" fmla="*/ 4046758 w 4046758"/>
              <a:gd name="connsiteY2-590" fmla="*/ 6652523 h 6652523"/>
              <a:gd name="connsiteX3-591" fmla="*/ 579722 w 4046758"/>
              <a:gd name="connsiteY3-592" fmla="*/ 6642301 h 6652523"/>
              <a:gd name="connsiteX4-593" fmla="*/ 0 w 4046758"/>
              <a:gd name="connsiteY4-594" fmla="*/ 6062579 h 6652523"/>
              <a:gd name="connsiteX5-595" fmla="*/ 0 w 4046758"/>
              <a:gd name="connsiteY5-596" fmla="*/ 0 h 6652523"/>
              <a:gd name="connsiteX0-597" fmla="*/ 0 w 4046758"/>
              <a:gd name="connsiteY0-598" fmla="*/ 0 h 6652523"/>
              <a:gd name="connsiteX1-599" fmla="*/ 3070268 w 4046758"/>
              <a:gd name="connsiteY1-600" fmla="*/ 10220 h 6652523"/>
              <a:gd name="connsiteX2-601" fmla="*/ 4046758 w 4046758"/>
              <a:gd name="connsiteY2-602" fmla="*/ 6652523 h 6652523"/>
              <a:gd name="connsiteX3-603" fmla="*/ 579722 w 4046758"/>
              <a:gd name="connsiteY3-604" fmla="*/ 6642301 h 6652523"/>
              <a:gd name="connsiteX4-605" fmla="*/ 0 w 4046758"/>
              <a:gd name="connsiteY4-606" fmla="*/ 6062579 h 6652523"/>
              <a:gd name="connsiteX5-607" fmla="*/ 0 w 4046758"/>
              <a:gd name="connsiteY5-608" fmla="*/ 0 h 6652523"/>
              <a:gd name="connsiteX0-609" fmla="*/ 0 w 4046758"/>
              <a:gd name="connsiteY0-610" fmla="*/ 0 h 6652523"/>
              <a:gd name="connsiteX1-611" fmla="*/ 3082144 w 4046758"/>
              <a:gd name="connsiteY1-612" fmla="*/ 10220 h 6652523"/>
              <a:gd name="connsiteX2-613" fmla="*/ 4046758 w 4046758"/>
              <a:gd name="connsiteY2-614" fmla="*/ 6652523 h 6652523"/>
              <a:gd name="connsiteX3-615" fmla="*/ 579722 w 4046758"/>
              <a:gd name="connsiteY3-616" fmla="*/ 6642301 h 6652523"/>
              <a:gd name="connsiteX4-617" fmla="*/ 0 w 4046758"/>
              <a:gd name="connsiteY4-618" fmla="*/ 6062579 h 6652523"/>
              <a:gd name="connsiteX5-619" fmla="*/ 0 w 4046758"/>
              <a:gd name="connsiteY5-620" fmla="*/ 0 h 6652523"/>
              <a:gd name="connsiteX0-621" fmla="*/ 0 w 3082197"/>
              <a:gd name="connsiteY0-622" fmla="*/ 0 h 6652523"/>
              <a:gd name="connsiteX1-623" fmla="*/ 3082144 w 3082197"/>
              <a:gd name="connsiteY1-624" fmla="*/ 10220 h 6652523"/>
              <a:gd name="connsiteX2-625" fmla="*/ 3072982 w 3082197"/>
              <a:gd name="connsiteY2-626" fmla="*/ 6652523 h 6652523"/>
              <a:gd name="connsiteX3-627" fmla="*/ 579722 w 3082197"/>
              <a:gd name="connsiteY3-628" fmla="*/ 6642301 h 6652523"/>
              <a:gd name="connsiteX4-629" fmla="*/ 0 w 3082197"/>
              <a:gd name="connsiteY4-630" fmla="*/ 6062579 h 6652523"/>
              <a:gd name="connsiteX5-631" fmla="*/ 0 w 3082197"/>
              <a:gd name="connsiteY5-632" fmla="*/ 0 h 6652523"/>
              <a:gd name="connsiteX0-633" fmla="*/ 0 w 3072982"/>
              <a:gd name="connsiteY0-634" fmla="*/ 0 h 6652523"/>
              <a:gd name="connsiteX1-635" fmla="*/ 3010892 w 3072982"/>
              <a:gd name="connsiteY1-636" fmla="*/ 164599 h 6652523"/>
              <a:gd name="connsiteX2-637" fmla="*/ 3072982 w 3072982"/>
              <a:gd name="connsiteY2-638" fmla="*/ 6652523 h 6652523"/>
              <a:gd name="connsiteX3-639" fmla="*/ 579722 w 3072982"/>
              <a:gd name="connsiteY3-640" fmla="*/ 6642301 h 6652523"/>
              <a:gd name="connsiteX4-641" fmla="*/ 0 w 3072982"/>
              <a:gd name="connsiteY4-642" fmla="*/ 6062579 h 6652523"/>
              <a:gd name="connsiteX5-643" fmla="*/ 0 w 3072982"/>
              <a:gd name="connsiteY5-644" fmla="*/ 0 h 6652523"/>
              <a:gd name="connsiteX0-645" fmla="*/ 0 w 3082197"/>
              <a:gd name="connsiteY0-646" fmla="*/ 1656 h 6654179"/>
              <a:gd name="connsiteX1-647" fmla="*/ 3082144 w 3082197"/>
              <a:gd name="connsiteY1-648" fmla="*/ 0 h 6654179"/>
              <a:gd name="connsiteX2-649" fmla="*/ 3072982 w 3082197"/>
              <a:gd name="connsiteY2-650" fmla="*/ 6654179 h 6654179"/>
              <a:gd name="connsiteX3-651" fmla="*/ 579722 w 3082197"/>
              <a:gd name="connsiteY3-652" fmla="*/ 6643957 h 6654179"/>
              <a:gd name="connsiteX4-653" fmla="*/ 0 w 3082197"/>
              <a:gd name="connsiteY4-654" fmla="*/ 6064235 h 6654179"/>
              <a:gd name="connsiteX5-655" fmla="*/ 0 w 3082197"/>
              <a:gd name="connsiteY5-656" fmla="*/ 1656 h 6654179"/>
              <a:gd name="connsiteX0-657" fmla="*/ 0 w 3082197"/>
              <a:gd name="connsiteY0-658" fmla="*/ 1316107 h 6654179"/>
              <a:gd name="connsiteX1-659" fmla="*/ 3082144 w 3082197"/>
              <a:gd name="connsiteY1-660" fmla="*/ 0 h 6654179"/>
              <a:gd name="connsiteX2-661" fmla="*/ 3072982 w 3082197"/>
              <a:gd name="connsiteY2-662" fmla="*/ 6654179 h 6654179"/>
              <a:gd name="connsiteX3-663" fmla="*/ 579722 w 3082197"/>
              <a:gd name="connsiteY3-664" fmla="*/ 6643957 h 6654179"/>
              <a:gd name="connsiteX4-665" fmla="*/ 0 w 3082197"/>
              <a:gd name="connsiteY4-666" fmla="*/ 6064235 h 6654179"/>
              <a:gd name="connsiteX5-667" fmla="*/ 0 w 3082197"/>
              <a:gd name="connsiteY5-668" fmla="*/ 1316107 h 6654179"/>
              <a:gd name="connsiteX0-669" fmla="*/ 0 w 3082197"/>
              <a:gd name="connsiteY0-670" fmla="*/ 1657 h 5339729"/>
              <a:gd name="connsiteX1-671" fmla="*/ 3082144 w 3082197"/>
              <a:gd name="connsiteY1-672" fmla="*/ 0 h 5339729"/>
              <a:gd name="connsiteX2-673" fmla="*/ 3072982 w 3082197"/>
              <a:gd name="connsiteY2-674" fmla="*/ 5339729 h 5339729"/>
              <a:gd name="connsiteX3-675" fmla="*/ 579722 w 3082197"/>
              <a:gd name="connsiteY3-676" fmla="*/ 5329507 h 5339729"/>
              <a:gd name="connsiteX4-677" fmla="*/ 0 w 3082197"/>
              <a:gd name="connsiteY4-678" fmla="*/ 4749785 h 5339729"/>
              <a:gd name="connsiteX5-679" fmla="*/ 0 w 3082197"/>
              <a:gd name="connsiteY5-680" fmla="*/ 1657 h 5339729"/>
              <a:gd name="connsiteX0-681" fmla="*/ 0 w 3082197"/>
              <a:gd name="connsiteY0-682" fmla="*/ 2202416 h 5339729"/>
              <a:gd name="connsiteX1-683" fmla="*/ 3082144 w 3082197"/>
              <a:gd name="connsiteY1-684" fmla="*/ 0 h 5339729"/>
              <a:gd name="connsiteX2-685" fmla="*/ 3072982 w 3082197"/>
              <a:gd name="connsiteY2-686" fmla="*/ 5339729 h 5339729"/>
              <a:gd name="connsiteX3-687" fmla="*/ 579722 w 3082197"/>
              <a:gd name="connsiteY3-688" fmla="*/ 5329507 h 5339729"/>
              <a:gd name="connsiteX4-689" fmla="*/ 0 w 3082197"/>
              <a:gd name="connsiteY4-690" fmla="*/ 4749785 h 5339729"/>
              <a:gd name="connsiteX5-691" fmla="*/ 0 w 3082197"/>
              <a:gd name="connsiteY5-692" fmla="*/ 2202416 h 5339729"/>
              <a:gd name="connsiteX0-693" fmla="*/ 0 w 3082197"/>
              <a:gd name="connsiteY0-694" fmla="*/ 1656 h 3138969"/>
              <a:gd name="connsiteX1-695" fmla="*/ 3082144 w 3082197"/>
              <a:gd name="connsiteY1-696" fmla="*/ 0 h 3138969"/>
              <a:gd name="connsiteX2-697" fmla="*/ 3072982 w 3082197"/>
              <a:gd name="connsiteY2-698" fmla="*/ 3138969 h 3138969"/>
              <a:gd name="connsiteX3-699" fmla="*/ 579722 w 3082197"/>
              <a:gd name="connsiteY3-700" fmla="*/ 3128747 h 3138969"/>
              <a:gd name="connsiteX4-701" fmla="*/ 0 w 3082197"/>
              <a:gd name="connsiteY4-702" fmla="*/ 2549025 h 3138969"/>
              <a:gd name="connsiteX5-703" fmla="*/ 0 w 3082197"/>
              <a:gd name="connsiteY5-704" fmla="*/ 1656 h 3138969"/>
              <a:gd name="connsiteX0-705" fmla="*/ 0 w 3082145"/>
              <a:gd name="connsiteY0-706" fmla="*/ 1656 h 3150544"/>
              <a:gd name="connsiteX1-707" fmla="*/ 3082144 w 3082145"/>
              <a:gd name="connsiteY1-708" fmla="*/ 0 h 3150544"/>
              <a:gd name="connsiteX2-709" fmla="*/ 2772041 w 3082145"/>
              <a:gd name="connsiteY2-710" fmla="*/ 3150544 h 3150544"/>
              <a:gd name="connsiteX3-711" fmla="*/ 579722 w 3082145"/>
              <a:gd name="connsiteY3-712" fmla="*/ 3128747 h 3150544"/>
              <a:gd name="connsiteX4-713" fmla="*/ 0 w 3082145"/>
              <a:gd name="connsiteY4-714" fmla="*/ 2549025 h 3150544"/>
              <a:gd name="connsiteX5-715" fmla="*/ 0 w 3082145"/>
              <a:gd name="connsiteY5-716" fmla="*/ 1656 h 3150544"/>
              <a:gd name="connsiteX0-717" fmla="*/ 0 w 2772041"/>
              <a:gd name="connsiteY0-718" fmla="*/ 1656 h 3150544"/>
              <a:gd name="connsiteX1-719" fmla="*/ 2769627 w 2772041"/>
              <a:gd name="connsiteY1-720" fmla="*/ 0 h 3150544"/>
              <a:gd name="connsiteX2-721" fmla="*/ 2772041 w 2772041"/>
              <a:gd name="connsiteY2-722" fmla="*/ 3150544 h 3150544"/>
              <a:gd name="connsiteX3-723" fmla="*/ 579722 w 2772041"/>
              <a:gd name="connsiteY3-724" fmla="*/ 3128747 h 3150544"/>
              <a:gd name="connsiteX4-725" fmla="*/ 0 w 2772041"/>
              <a:gd name="connsiteY4-726" fmla="*/ 2549025 h 3150544"/>
              <a:gd name="connsiteX5-727" fmla="*/ 0 w 2772041"/>
              <a:gd name="connsiteY5-728" fmla="*/ 1656 h 3150544"/>
              <a:gd name="connsiteX0-729" fmla="*/ 0 w 2772041"/>
              <a:gd name="connsiteY0-730" fmla="*/ 1656 h 3138969"/>
              <a:gd name="connsiteX1-731" fmla="*/ 2769627 w 2772041"/>
              <a:gd name="connsiteY1-732" fmla="*/ 0 h 3138969"/>
              <a:gd name="connsiteX2-733" fmla="*/ 2772041 w 2772041"/>
              <a:gd name="connsiteY2-734" fmla="*/ 3138969 h 3138969"/>
              <a:gd name="connsiteX3-735" fmla="*/ 579722 w 2772041"/>
              <a:gd name="connsiteY3-736" fmla="*/ 3128747 h 3138969"/>
              <a:gd name="connsiteX4-737" fmla="*/ 0 w 2772041"/>
              <a:gd name="connsiteY4-738" fmla="*/ 2549025 h 3138969"/>
              <a:gd name="connsiteX5-739" fmla="*/ 0 w 2772041"/>
              <a:gd name="connsiteY5-740" fmla="*/ 1656 h 313896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sz="1400">
                <a:solidFill>
                  <a:schemeClr val="tx1"/>
                </a:solidFill>
              </a:defRPr>
            </a:lvl1pPr>
          </a:lstStyle>
          <a:p>
            <a:pPr marL="0" marR="0" lvl="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a:pPr>
            <a:r>
              <a:rPr lang="en-US"/>
              <a:t>Insert Picture/Text Block</a:t>
            </a:r>
            <a:endParaRPr lang="en-US"/>
          </a:p>
          <a:p>
            <a:endParaRPr lang="en-US"/>
          </a:p>
        </p:txBody>
      </p:sp>
      <p:sp>
        <p:nvSpPr>
          <p:cNvPr id="23" name="Picture Placeholder 9"/>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18553"/>
              <a:gd name="connsiteX1-419" fmla="*/ 8912928 w 8915642"/>
              <a:gd name="connsiteY1-420" fmla="*/ 176478 h 6618553"/>
              <a:gd name="connsiteX2-421" fmla="*/ 8915642 w 8915642"/>
              <a:gd name="connsiteY2-422" fmla="*/ 6616899 h 6618553"/>
              <a:gd name="connsiteX3-423" fmla="*/ 579722 w 8915642"/>
              <a:gd name="connsiteY3-424" fmla="*/ 6618553 h 6618553"/>
              <a:gd name="connsiteX4-425" fmla="*/ 0 w 8915642"/>
              <a:gd name="connsiteY4-426" fmla="*/ 6038831 h 6618553"/>
              <a:gd name="connsiteX5-427" fmla="*/ 0 w 8915642"/>
              <a:gd name="connsiteY5-428" fmla="*/ 1 h 6618553"/>
              <a:gd name="connsiteX0-429" fmla="*/ 0 w 8915642"/>
              <a:gd name="connsiteY0-430" fmla="*/ 25404 h 6643956"/>
              <a:gd name="connsiteX1-431" fmla="*/ 6015348 w 8915642"/>
              <a:gd name="connsiteY1-432" fmla="*/ 0 h 6643956"/>
              <a:gd name="connsiteX2-433" fmla="*/ 8915642 w 8915642"/>
              <a:gd name="connsiteY2-434" fmla="*/ 6642302 h 6643956"/>
              <a:gd name="connsiteX3-435" fmla="*/ 579722 w 8915642"/>
              <a:gd name="connsiteY3-436" fmla="*/ 6643956 h 6643956"/>
              <a:gd name="connsiteX4-437" fmla="*/ 0 w 8915642"/>
              <a:gd name="connsiteY4-438" fmla="*/ 6064234 h 6643956"/>
              <a:gd name="connsiteX5-439" fmla="*/ 0 w 8915642"/>
              <a:gd name="connsiteY5-440" fmla="*/ 25404 h 6643956"/>
              <a:gd name="connsiteX0-441" fmla="*/ 0 w 8915642"/>
              <a:gd name="connsiteY0-442" fmla="*/ 1653 h 6620205"/>
              <a:gd name="connsiteX1-443" fmla="*/ 6003473 w 8915642"/>
              <a:gd name="connsiteY1-444" fmla="*/ 0 h 6620205"/>
              <a:gd name="connsiteX2-445" fmla="*/ 8915642 w 8915642"/>
              <a:gd name="connsiteY2-446" fmla="*/ 6618551 h 6620205"/>
              <a:gd name="connsiteX3-447" fmla="*/ 579722 w 8915642"/>
              <a:gd name="connsiteY3-448" fmla="*/ 6620205 h 6620205"/>
              <a:gd name="connsiteX4-449" fmla="*/ 0 w 8915642"/>
              <a:gd name="connsiteY4-450" fmla="*/ 6040483 h 6620205"/>
              <a:gd name="connsiteX5-451" fmla="*/ 0 w 8915642"/>
              <a:gd name="connsiteY5-452" fmla="*/ 1653 h 6620205"/>
              <a:gd name="connsiteX0-453" fmla="*/ 0 w 8915642"/>
              <a:gd name="connsiteY0-454" fmla="*/ 96656 h 6620205"/>
              <a:gd name="connsiteX1-455" fmla="*/ 6003473 w 8915642"/>
              <a:gd name="connsiteY1-456" fmla="*/ 0 h 6620205"/>
              <a:gd name="connsiteX2-457" fmla="*/ 8915642 w 8915642"/>
              <a:gd name="connsiteY2-458" fmla="*/ 6618551 h 6620205"/>
              <a:gd name="connsiteX3-459" fmla="*/ 579722 w 8915642"/>
              <a:gd name="connsiteY3-460" fmla="*/ 6620205 h 6620205"/>
              <a:gd name="connsiteX4-461" fmla="*/ 0 w 8915642"/>
              <a:gd name="connsiteY4-462" fmla="*/ 6040483 h 6620205"/>
              <a:gd name="connsiteX5-463" fmla="*/ 0 w 8915642"/>
              <a:gd name="connsiteY5-464" fmla="*/ 96656 h 6620205"/>
              <a:gd name="connsiteX0-465" fmla="*/ 0 w 8915642"/>
              <a:gd name="connsiteY0-466" fmla="*/ 0 h 6642302"/>
              <a:gd name="connsiteX1-467" fmla="*/ 6003473 w 8915642"/>
              <a:gd name="connsiteY1-468" fmla="*/ 22097 h 6642302"/>
              <a:gd name="connsiteX2-469" fmla="*/ 8915642 w 8915642"/>
              <a:gd name="connsiteY2-470" fmla="*/ 6640648 h 6642302"/>
              <a:gd name="connsiteX3-471" fmla="*/ 579722 w 8915642"/>
              <a:gd name="connsiteY3-472" fmla="*/ 6642302 h 6642302"/>
              <a:gd name="connsiteX4-473" fmla="*/ 0 w 8915642"/>
              <a:gd name="connsiteY4-474" fmla="*/ 6062580 h 6642302"/>
              <a:gd name="connsiteX5-475" fmla="*/ 0 w 8915642"/>
              <a:gd name="connsiteY5-476" fmla="*/ 0 h 6642302"/>
              <a:gd name="connsiteX0-477" fmla="*/ 0 w 8915642"/>
              <a:gd name="connsiteY0-478" fmla="*/ 0 h 6642302"/>
              <a:gd name="connsiteX1-479" fmla="*/ 5932221 w 8915642"/>
              <a:gd name="connsiteY1-480" fmla="*/ 152725 h 6642302"/>
              <a:gd name="connsiteX2-481" fmla="*/ 8915642 w 8915642"/>
              <a:gd name="connsiteY2-482" fmla="*/ 6640648 h 6642302"/>
              <a:gd name="connsiteX3-483" fmla="*/ 579722 w 8915642"/>
              <a:gd name="connsiteY3-484" fmla="*/ 6642302 h 6642302"/>
              <a:gd name="connsiteX4-485" fmla="*/ 0 w 8915642"/>
              <a:gd name="connsiteY4-486" fmla="*/ 6062580 h 6642302"/>
              <a:gd name="connsiteX5-487" fmla="*/ 0 w 8915642"/>
              <a:gd name="connsiteY5-488" fmla="*/ 0 h 6642302"/>
              <a:gd name="connsiteX0-489" fmla="*/ 0 w 8915642"/>
              <a:gd name="connsiteY0-490" fmla="*/ 1654 h 6643956"/>
              <a:gd name="connsiteX1-491" fmla="*/ 6003473 w 8915642"/>
              <a:gd name="connsiteY1-492" fmla="*/ 0 h 6643956"/>
              <a:gd name="connsiteX2-493" fmla="*/ 8915642 w 8915642"/>
              <a:gd name="connsiteY2-494" fmla="*/ 6642302 h 6643956"/>
              <a:gd name="connsiteX3-495" fmla="*/ 579722 w 8915642"/>
              <a:gd name="connsiteY3-496" fmla="*/ 6643956 h 6643956"/>
              <a:gd name="connsiteX4-497" fmla="*/ 0 w 8915642"/>
              <a:gd name="connsiteY4-498" fmla="*/ 6064234 h 6643956"/>
              <a:gd name="connsiteX5-499" fmla="*/ 0 w 8915642"/>
              <a:gd name="connsiteY5-500" fmla="*/ 1654 h 6643956"/>
              <a:gd name="connsiteX0-501" fmla="*/ 0 w 6018062"/>
              <a:gd name="connsiteY0-502" fmla="*/ 1654 h 6654178"/>
              <a:gd name="connsiteX1-503" fmla="*/ 6003473 w 6018062"/>
              <a:gd name="connsiteY1-504" fmla="*/ 0 h 6654178"/>
              <a:gd name="connsiteX2-505" fmla="*/ 6018062 w 6018062"/>
              <a:gd name="connsiteY2-506" fmla="*/ 6654178 h 6654178"/>
              <a:gd name="connsiteX3-507" fmla="*/ 579722 w 6018062"/>
              <a:gd name="connsiteY3-508" fmla="*/ 6643956 h 6654178"/>
              <a:gd name="connsiteX4-509" fmla="*/ 0 w 6018062"/>
              <a:gd name="connsiteY4-510" fmla="*/ 6064234 h 6654178"/>
              <a:gd name="connsiteX5-511" fmla="*/ 0 w 6018062"/>
              <a:gd name="connsiteY5-512" fmla="*/ 1654 h 6654178"/>
              <a:gd name="connsiteX0-513" fmla="*/ 0 w 6018062"/>
              <a:gd name="connsiteY0-514" fmla="*/ 203535 h 6654178"/>
              <a:gd name="connsiteX1-515" fmla="*/ 6003473 w 6018062"/>
              <a:gd name="connsiteY1-516" fmla="*/ 0 h 6654178"/>
              <a:gd name="connsiteX2-517" fmla="*/ 6018062 w 6018062"/>
              <a:gd name="connsiteY2-518" fmla="*/ 6654178 h 6654178"/>
              <a:gd name="connsiteX3-519" fmla="*/ 579722 w 6018062"/>
              <a:gd name="connsiteY3-520" fmla="*/ 6643956 h 6654178"/>
              <a:gd name="connsiteX4-521" fmla="*/ 0 w 6018062"/>
              <a:gd name="connsiteY4-522" fmla="*/ 6064234 h 6654178"/>
              <a:gd name="connsiteX5-523" fmla="*/ 0 w 6018062"/>
              <a:gd name="connsiteY5-524" fmla="*/ 203535 h 6654178"/>
              <a:gd name="connsiteX0-525" fmla="*/ 0 w 6018062"/>
              <a:gd name="connsiteY0-526" fmla="*/ 1655 h 6452298"/>
              <a:gd name="connsiteX1-527" fmla="*/ 4055920 w 6018062"/>
              <a:gd name="connsiteY1-528" fmla="*/ 0 h 6452298"/>
              <a:gd name="connsiteX2-529" fmla="*/ 6018062 w 6018062"/>
              <a:gd name="connsiteY2-530" fmla="*/ 6452298 h 6452298"/>
              <a:gd name="connsiteX3-531" fmla="*/ 579722 w 6018062"/>
              <a:gd name="connsiteY3-532" fmla="*/ 6442076 h 6452298"/>
              <a:gd name="connsiteX4-533" fmla="*/ 0 w 6018062"/>
              <a:gd name="connsiteY4-534" fmla="*/ 5862354 h 6452298"/>
              <a:gd name="connsiteX5-535" fmla="*/ 0 w 6018062"/>
              <a:gd name="connsiteY5-536" fmla="*/ 1655 h 6452298"/>
              <a:gd name="connsiteX0-537" fmla="*/ 0 w 4055973"/>
              <a:gd name="connsiteY0-538" fmla="*/ 1655 h 6452298"/>
              <a:gd name="connsiteX1-539" fmla="*/ 4055920 w 4055973"/>
              <a:gd name="connsiteY1-540" fmla="*/ 0 h 6452298"/>
              <a:gd name="connsiteX2-541" fmla="*/ 4046758 w 4055973"/>
              <a:gd name="connsiteY2-542" fmla="*/ 6452298 h 6452298"/>
              <a:gd name="connsiteX3-543" fmla="*/ 579722 w 4055973"/>
              <a:gd name="connsiteY3-544" fmla="*/ 6442076 h 6452298"/>
              <a:gd name="connsiteX4-545" fmla="*/ 0 w 4055973"/>
              <a:gd name="connsiteY4-546" fmla="*/ 5862354 h 6452298"/>
              <a:gd name="connsiteX5-547" fmla="*/ 0 w 4055973"/>
              <a:gd name="connsiteY5-548" fmla="*/ 1655 h 6452298"/>
              <a:gd name="connsiteX0-549" fmla="*/ 0 w 4055973"/>
              <a:gd name="connsiteY0-550" fmla="*/ 0 h 6652523"/>
              <a:gd name="connsiteX1-551" fmla="*/ 4055920 w 4055973"/>
              <a:gd name="connsiteY1-552" fmla="*/ 200225 h 6652523"/>
              <a:gd name="connsiteX2-553" fmla="*/ 4046758 w 4055973"/>
              <a:gd name="connsiteY2-554" fmla="*/ 6652523 h 6652523"/>
              <a:gd name="connsiteX3-555" fmla="*/ 579722 w 4055973"/>
              <a:gd name="connsiteY3-556" fmla="*/ 6642301 h 6652523"/>
              <a:gd name="connsiteX4-557" fmla="*/ 0 w 4055973"/>
              <a:gd name="connsiteY4-558" fmla="*/ 6062579 h 6652523"/>
              <a:gd name="connsiteX5-559" fmla="*/ 0 w 4055973"/>
              <a:gd name="connsiteY5-560" fmla="*/ 0 h 6652523"/>
              <a:gd name="connsiteX0-561" fmla="*/ 0 w 4046758"/>
              <a:gd name="connsiteY0-562" fmla="*/ 0 h 6652523"/>
              <a:gd name="connsiteX1-563" fmla="*/ 4044045 w 4046758"/>
              <a:gd name="connsiteY1-564" fmla="*/ 10220 h 6652523"/>
              <a:gd name="connsiteX2-565" fmla="*/ 4046758 w 4046758"/>
              <a:gd name="connsiteY2-566" fmla="*/ 6652523 h 6652523"/>
              <a:gd name="connsiteX3-567" fmla="*/ 579722 w 4046758"/>
              <a:gd name="connsiteY3-568" fmla="*/ 6642301 h 6652523"/>
              <a:gd name="connsiteX4-569" fmla="*/ 0 w 4046758"/>
              <a:gd name="connsiteY4-570" fmla="*/ 6062579 h 6652523"/>
              <a:gd name="connsiteX5-571" fmla="*/ 0 w 4046758"/>
              <a:gd name="connsiteY5-572" fmla="*/ 0 h 6652523"/>
              <a:gd name="connsiteX0-573" fmla="*/ 0 w 4046758"/>
              <a:gd name="connsiteY0-574" fmla="*/ 1655 h 6654178"/>
              <a:gd name="connsiteX1-575" fmla="*/ 3082144 w 4046758"/>
              <a:gd name="connsiteY1-576" fmla="*/ 0 h 6654178"/>
              <a:gd name="connsiteX2-577" fmla="*/ 4046758 w 4046758"/>
              <a:gd name="connsiteY2-578" fmla="*/ 6654178 h 6654178"/>
              <a:gd name="connsiteX3-579" fmla="*/ 579722 w 4046758"/>
              <a:gd name="connsiteY3-580" fmla="*/ 6643956 h 6654178"/>
              <a:gd name="connsiteX4-581" fmla="*/ 0 w 4046758"/>
              <a:gd name="connsiteY4-582" fmla="*/ 6064234 h 6654178"/>
              <a:gd name="connsiteX5-583" fmla="*/ 0 w 4046758"/>
              <a:gd name="connsiteY5-584" fmla="*/ 1655 h 6654178"/>
              <a:gd name="connsiteX0-585" fmla="*/ 0 w 4046758"/>
              <a:gd name="connsiteY0-586" fmla="*/ 0 h 6652523"/>
              <a:gd name="connsiteX1-587" fmla="*/ 2975266 w 4046758"/>
              <a:gd name="connsiteY1-588" fmla="*/ 93348 h 6652523"/>
              <a:gd name="connsiteX2-589" fmla="*/ 4046758 w 4046758"/>
              <a:gd name="connsiteY2-590" fmla="*/ 6652523 h 6652523"/>
              <a:gd name="connsiteX3-591" fmla="*/ 579722 w 4046758"/>
              <a:gd name="connsiteY3-592" fmla="*/ 6642301 h 6652523"/>
              <a:gd name="connsiteX4-593" fmla="*/ 0 w 4046758"/>
              <a:gd name="connsiteY4-594" fmla="*/ 6062579 h 6652523"/>
              <a:gd name="connsiteX5-595" fmla="*/ 0 w 4046758"/>
              <a:gd name="connsiteY5-596" fmla="*/ 0 h 6652523"/>
              <a:gd name="connsiteX0-597" fmla="*/ 0 w 4046758"/>
              <a:gd name="connsiteY0-598" fmla="*/ 0 h 6652523"/>
              <a:gd name="connsiteX1-599" fmla="*/ 3070268 w 4046758"/>
              <a:gd name="connsiteY1-600" fmla="*/ 10220 h 6652523"/>
              <a:gd name="connsiteX2-601" fmla="*/ 4046758 w 4046758"/>
              <a:gd name="connsiteY2-602" fmla="*/ 6652523 h 6652523"/>
              <a:gd name="connsiteX3-603" fmla="*/ 579722 w 4046758"/>
              <a:gd name="connsiteY3-604" fmla="*/ 6642301 h 6652523"/>
              <a:gd name="connsiteX4-605" fmla="*/ 0 w 4046758"/>
              <a:gd name="connsiteY4-606" fmla="*/ 6062579 h 6652523"/>
              <a:gd name="connsiteX5-607" fmla="*/ 0 w 4046758"/>
              <a:gd name="connsiteY5-608" fmla="*/ 0 h 6652523"/>
              <a:gd name="connsiteX0-609" fmla="*/ 0 w 4046758"/>
              <a:gd name="connsiteY0-610" fmla="*/ 0 h 6652523"/>
              <a:gd name="connsiteX1-611" fmla="*/ 3082144 w 4046758"/>
              <a:gd name="connsiteY1-612" fmla="*/ 10220 h 6652523"/>
              <a:gd name="connsiteX2-613" fmla="*/ 4046758 w 4046758"/>
              <a:gd name="connsiteY2-614" fmla="*/ 6652523 h 6652523"/>
              <a:gd name="connsiteX3-615" fmla="*/ 579722 w 4046758"/>
              <a:gd name="connsiteY3-616" fmla="*/ 6642301 h 6652523"/>
              <a:gd name="connsiteX4-617" fmla="*/ 0 w 4046758"/>
              <a:gd name="connsiteY4-618" fmla="*/ 6062579 h 6652523"/>
              <a:gd name="connsiteX5-619" fmla="*/ 0 w 4046758"/>
              <a:gd name="connsiteY5-620" fmla="*/ 0 h 6652523"/>
              <a:gd name="connsiteX0-621" fmla="*/ 0 w 3082197"/>
              <a:gd name="connsiteY0-622" fmla="*/ 0 h 6652523"/>
              <a:gd name="connsiteX1-623" fmla="*/ 3082144 w 3082197"/>
              <a:gd name="connsiteY1-624" fmla="*/ 10220 h 6652523"/>
              <a:gd name="connsiteX2-625" fmla="*/ 3072982 w 3082197"/>
              <a:gd name="connsiteY2-626" fmla="*/ 6652523 h 6652523"/>
              <a:gd name="connsiteX3-627" fmla="*/ 579722 w 3082197"/>
              <a:gd name="connsiteY3-628" fmla="*/ 6642301 h 6652523"/>
              <a:gd name="connsiteX4-629" fmla="*/ 0 w 3082197"/>
              <a:gd name="connsiteY4-630" fmla="*/ 6062579 h 6652523"/>
              <a:gd name="connsiteX5-631" fmla="*/ 0 w 3082197"/>
              <a:gd name="connsiteY5-632" fmla="*/ 0 h 6652523"/>
              <a:gd name="connsiteX0-633" fmla="*/ 0 w 3072982"/>
              <a:gd name="connsiteY0-634" fmla="*/ 0 h 6652523"/>
              <a:gd name="connsiteX1-635" fmla="*/ 3010892 w 3072982"/>
              <a:gd name="connsiteY1-636" fmla="*/ 164599 h 6652523"/>
              <a:gd name="connsiteX2-637" fmla="*/ 3072982 w 3072982"/>
              <a:gd name="connsiteY2-638" fmla="*/ 6652523 h 6652523"/>
              <a:gd name="connsiteX3-639" fmla="*/ 579722 w 3072982"/>
              <a:gd name="connsiteY3-640" fmla="*/ 6642301 h 6652523"/>
              <a:gd name="connsiteX4-641" fmla="*/ 0 w 3072982"/>
              <a:gd name="connsiteY4-642" fmla="*/ 6062579 h 6652523"/>
              <a:gd name="connsiteX5-643" fmla="*/ 0 w 3072982"/>
              <a:gd name="connsiteY5-644" fmla="*/ 0 h 6652523"/>
              <a:gd name="connsiteX0-645" fmla="*/ 0 w 3082197"/>
              <a:gd name="connsiteY0-646" fmla="*/ 1656 h 6654179"/>
              <a:gd name="connsiteX1-647" fmla="*/ 3082144 w 3082197"/>
              <a:gd name="connsiteY1-648" fmla="*/ 0 h 6654179"/>
              <a:gd name="connsiteX2-649" fmla="*/ 3072982 w 3082197"/>
              <a:gd name="connsiteY2-650" fmla="*/ 6654179 h 6654179"/>
              <a:gd name="connsiteX3-651" fmla="*/ 579722 w 3082197"/>
              <a:gd name="connsiteY3-652" fmla="*/ 6643957 h 6654179"/>
              <a:gd name="connsiteX4-653" fmla="*/ 0 w 3082197"/>
              <a:gd name="connsiteY4-654" fmla="*/ 6064235 h 6654179"/>
              <a:gd name="connsiteX5-655" fmla="*/ 0 w 3082197"/>
              <a:gd name="connsiteY5-656" fmla="*/ 1656 h 6654179"/>
              <a:gd name="connsiteX0-657" fmla="*/ 0 w 3082197"/>
              <a:gd name="connsiteY0-658" fmla="*/ 1316107 h 6654179"/>
              <a:gd name="connsiteX1-659" fmla="*/ 3082144 w 3082197"/>
              <a:gd name="connsiteY1-660" fmla="*/ 0 h 6654179"/>
              <a:gd name="connsiteX2-661" fmla="*/ 3072982 w 3082197"/>
              <a:gd name="connsiteY2-662" fmla="*/ 6654179 h 6654179"/>
              <a:gd name="connsiteX3-663" fmla="*/ 579722 w 3082197"/>
              <a:gd name="connsiteY3-664" fmla="*/ 6643957 h 6654179"/>
              <a:gd name="connsiteX4-665" fmla="*/ 0 w 3082197"/>
              <a:gd name="connsiteY4-666" fmla="*/ 6064235 h 6654179"/>
              <a:gd name="connsiteX5-667" fmla="*/ 0 w 3082197"/>
              <a:gd name="connsiteY5-668" fmla="*/ 1316107 h 6654179"/>
              <a:gd name="connsiteX0-669" fmla="*/ 0 w 3082197"/>
              <a:gd name="connsiteY0-670" fmla="*/ 1657 h 5339729"/>
              <a:gd name="connsiteX1-671" fmla="*/ 3082144 w 3082197"/>
              <a:gd name="connsiteY1-672" fmla="*/ 0 h 5339729"/>
              <a:gd name="connsiteX2-673" fmla="*/ 3072982 w 3082197"/>
              <a:gd name="connsiteY2-674" fmla="*/ 5339729 h 5339729"/>
              <a:gd name="connsiteX3-675" fmla="*/ 579722 w 3082197"/>
              <a:gd name="connsiteY3-676" fmla="*/ 5329507 h 5339729"/>
              <a:gd name="connsiteX4-677" fmla="*/ 0 w 3082197"/>
              <a:gd name="connsiteY4-678" fmla="*/ 4749785 h 5339729"/>
              <a:gd name="connsiteX5-679" fmla="*/ 0 w 3082197"/>
              <a:gd name="connsiteY5-680" fmla="*/ 1657 h 5339729"/>
              <a:gd name="connsiteX0-681" fmla="*/ 0 w 3082197"/>
              <a:gd name="connsiteY0-682" fmla="*/ 2202416 h 5339729"/>
              <a:gd name="connsiteX1-683" fmla="*/ 3082144 w 3082197"/>
              <a:gd name="connsiteY1-684" fmla="*/ 0 h 5339729"/>
              <a:gd name="connsiteX2-685" fmla="*/ 3072982 w 3082197"/>
              <a:gd name="connsiteY2-686" fmla="*/ 5339729 h 5339729"/>
              <a:gd name="connsiteX3-687" fmla="*/ 579722 w 3082197"/>
              <a:gd name="connsiteY3-688" fmla="*/ 5329507 h 5339729"/>
              <a:gd name="connsiteX4-689" fmla="*/ 0 w 3082197"/>
              <a:gd name="connsiteY4-690" fmla="*/ 4749785 h 5339729"/>
              <a:gd name="connsiteX5-691" fmla="*/ 0 w 3082197"/>
              <a:gd name="connsiteY5-692" fmla="*/ 2202416 h 5339729"/>
              <a:gd name="connsiteX0-693" fmla="*/ 0 w 3082197"/>
              <a:gd name="connsiteY0-694" fmla="*/ 1656 h 3138969"/>
              <a:gd name="connsiteX1-695" fmla="*/ 3082144 w 3082197"/>
              <a:gd name="connsiteY1-696" fmla="*/ 0 h 3138969"/>
              <a:gd name="connsiteX2-697" fmla="*/ 3072982 w 3082197"/>
              <a:gd name="connsiteY2-698" fmla="*/ 3138969 h 3138969"/>
              <a:gd name="connsiteX3-699" fmla="*/ 579722 w 3082197"/>
              <a:gd name="connsiteY3-700" fmla="*/ 3128747 h 3138969"/>
              <a:gd name="connsiteX4-701" fmla="*/ 0 w 3082197"/>
              <a:gd name="connsiteY4-702" fmla="*/ 2549025 h 3138969"/>
              <a:gd name="connsiteX5-703" fmla="*/ 0 w 3082197"/>
              <a:gd name="connsiteY5-704" fmla="*/ 1656 h 3138969"/>
              <a:gd name="connsiteX0-705" fmla="*/ 0 w 3082145"/>
              <a:gd name="connsiteY0-706" fmla="*/ 1656 h 3150544"/>
              <a:gd name="connsiteX1-707" fmla="*/ 3082144 w 3082145"/>
              <a:gd name="connsiteY1-708" fmla="*/ 0 h 3150544"/>
              <a:gd name="connsiteX2-709" fmla="*/ 2772041 w 3082145"/>
              <a:gd name="connsiteY2-710" fmla="*/ 3150544 h 3150544"/>
              <a:gd name="connsiteX3-711" fmla="*/ 579722 w 3082145"/>
              <a:gd name="connsiteY3-712" fmla="*/ 3128747 h 3150544"/>
              <a:gd name="connsiteX4-713" fmla="*/ 0 w 3082145"/>
              <a:gd name="connsiteY4-714" fmla="*/ 2549025 h 3150544"/>
              <a:gd name="connsiteX5-715" fmla="*/ 0 w 3082145"/>
              <a:gd name="connsiteY5-716" fmla="*/ 1656 h 3150544"/>
              <a:gd name="connsiteX0-717" fmla="*/ 0 w 2772041"/>
              <a:gd name="connsiteY0-718" fmla="*/ 1656 h 3150544"/>
              <a:gd name="connsiteX1-719" fmla="*/ 2769627 w 2772041"/>
              <a:gd name="connsiteY1-720" fmla="*/ 0 h 3150544"/>
              <a:gd name="connsiteX2-721" fmla="*/ 2772041 w 2772041"/>
              <a:gd name="connsiteY2-722" fmla="*/ 3150544 h 3150544"/>
              <a:gd name="connsiteX3-723" fmla="*/ 579722 w 2772041"/>
              <a:gd name="connsiteY3-724" fmla="*/ 3128747 h 3150544"/>
              <a:gd name="connsiteX4-725" fmla="*/ 0 w 2772041"/>
              <a:gd name="connsiteY4-726" fmla="*/ 2549025 h 3150544"/>
              <a:gd name="connsiteX5-727" fmla="*/ 0 w 2772041"/>
              <a:gd name="connsiteY5-728" fmla="*/ 1656 h 3150544"/>
              <a:gd name="connsiteX0-729" fmla="*/ 0 w 2772041"/>
              <a:gd name="connsiteY0-730" fmla="*/ 1656 h 3138969"/>
              <a:gd name="connsiteX1-731" fmla="*/ 2769627 w 2772041"/>
              <a:gd name="connsiteY1-732" fmla="*/ 0 h 3138969"/>
              <a:gd name="connsiteX2-733" fmla="*/ 2772041 w 2772041"/>
              <a:gd name="connsiteY2-734" fmla="*/ 3138969 h 3138969"/>
              <a:gd name="connsiteX3-735" fmla="*/ 579722 w 2772041"/>
              <a:gd name="connsiteY3-736" fmla="*/ 3128747 h 3138969"/>
              <a:gd name="connsiteX4-737" fmla="*/ 0 w 2772041"/>
              <a:gd name="connsiteY4-738" fmla="*/ 2549025 h 3138969"/>
              <a:gd name="connsiteX5-739" fmla="*/ 0 w 2772041"/>
              <a:gd name="connsiteY5-740" fmla="*/ 1656 h 313896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endParaRPr lang="en-US"/>
          </a:p>
        </p:txBody>
      </p:sp>
      <p:sp>
        <p:nvSpPr>
          <p:cNvPr id="24" name="Picture Placeholder 9"/>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18553"/>
              <a:gd name="connsiteX1-419" fmla="*/ 8912928 w 8915642"/>
              <a:gd name="connsiteY1-420" fmla="*/ 176478 h 6618553"/>
              <a:gd name="connsiteX2-421" fmla="*/ 8915642 w 8915642"/>
              <a:gd name="connsiteY2-422" fmla="*/ 6616899 h 6618553"/>
              <a:gd name="connsiteX3-423" fmla="*/ 579722 w 8915642"/>
              <a:gd name="connsiteY3-424" fmla="*/ 6618553 h 6618553"/>
              <a:gd name="connsiteX4-425" fmla="*/ 0 w 8915642"/>
              <a:gd name="connsiteY4-426" fmla="*/ 6038831 h 6618553"/>
              <a:gd name="connsiteX5-427" fmla="*/ 0 w 8915642"/>
              <a:gd name="connsiteY5-428" fmla="*/ 1 h 6618553"/>
              <a:gd name="connsiteX0-429" fmla="*/ 0 w 8915642"/>
              <a:gd name="connsiteY0-430" fmla="*/ 25404 h 6643956"/>
              <a:gd name="connsiteX1-431" fmla="*/ 6015348 w 8915642"/>
              <a:gd name="connsiteY1-432" fmla="*/ 0 h 6643956"/>
              <a:gd name="connsiteX2-433" fmla="*/ 8915642 w 8915642"/>
              <a:gd name="connsiteY2-434" fmla="*/ 6642302 h 6643956"/>
              <a:gd name="connsiteX3-435" fmla="*/ 579722 w 8915642"/>
              <a:gd name="connsiteY3-436" fmla="*/ 6643956 h 6643956"/>
              <a:gd name="connsiteX4-437" fmla="*/ 0 w 8915642"/>
              <a:gd name="connsiteY4-438" fmla="*/ 6064234 h 6643956"/>
              <a:gd name="connsiteX5-439" fmla="*/ 0 w 8915642"/>
              <a:gd name="connsiteY5-440" fmla="*/ 25404 h 6643956"/>
              <a:gd name="connsiteX0-441" fmla="*/ 0 w 8915642"/>
              <a:gd name="connsiteY0-442" fmla="*/ 1653 h 6620205"/>
              <a:gd name="connsiteX1-443" fmla="*/ 6003473 w 8915642"/>
              <a:gd name="connsiteY1-444" fmla="*/ 0 h 6620205"/>
              <a:gd name="connsiteX2-445" fmla="*/ 8915642 w 8915642"/>
              <a:gd name="connsiteY2-446" fmla="*/ 6618551 h 6620205"/>
              <a:gd name="connsiteX3-447" fmla="*/ 579722 w 8915642"/>
              <a:gd name="connsiteY3-448" fmla="*/ 6620205 h 6620205"/>
              <a:gd name="connsiteX4-449" fmla="*/ 0 w 8915642"/>
              <a:gd name="connsiteY4-450" fmla="*/ 6040483 h 6620205"/>
              <a:gd name="connsiteX5-451" fmla="*/ 0 w 8915642"/>
              <a:gd name="connsiteY5-452" fmla="*/ 1653 h 6620205"/>
              <a:gd name="connsiteX0-453" fmla="*/ 0 w 8915642"/>
              <a:gd name="connsiteY0-454" fmla="*/ 96656 h 6620205"/>
              <a:gd name="connsiteX1-455" fmla="*/ 6003473 w 8915642"/>
              <a:gd name="connsiteY1-456" fmla="*/ 0 h 6620205"/>
              <a:gd name="connsiteX2-457" fmla="*/ 8915642 w 8915642"/>
              <a:gd name="connsiteY2-458" fmla="*/ 6618551 h 6620205"/>
              <a:gd name="connsiteX3-459" fmla="*/ 579722 w 8915642"/>
              <a:gd name="connsiteY3-460" fmla="*/ 6620205 h 6620205"/>
              <a:gd name="connsiteX4-461" fmla="*/ 0 w 8915642"/>
              <a:gd name="connsiteY4-462" fmla="*/ 6040483 h 6620205"/>
              <a:gd name="connsiteX5-463" fmla="*/ 0 w 8915642"/>
              <a:gd name="connsiteY5-464" fmla="*/ 96656 h 6620205"/>
              <a:gd name="connsiteX0-465" fmla="*/ 0 w 8915642"/>
              <a:gd name="connsiteY0-466" fmla="*/ 0 h 6642302"/>
              <a:gd name="connsiteX1-467" fmla="*/ 6003473 w 8915642"/>
              <a:gd name="connsiteY1-468" fmla="*/ 22097 h 6642302"/>
              <a:gd name="connsiteX2-469" fmla="*/ 8915642 w 8915642"/>
              <a:gd name="connsiteY2-470" fmla="*/ 6640648 h 6642302"/>
              <a:gd name="connsiteX3-471" fmla="*/ 579722 w 8915642"/>
              <a:gd name="connsiteY3-472" fmla="*/ 6642302 h 6642302"/>
              <a:gd name="connsiteX4-473" fmla="*/ 0 w 8915642"/>
              <a:gd name="connsiteY4-474" fmla="*/ 6062580 h 6642302"/>
              <a:gd name="connsiteX5-475" fmla="*/ 0 w 8915642"/>
              <a:gd name="connsiteY5-476" fmla="*/ 0 h 6642302"/>
              <a:gd name="connsiteX0-477" fmla="*/ 0 w 8915642"/>
              <a:gd name="connsiteY0-478" fmla="*/ 0 h 6642302"/>
              <a:gd name="connsiteX1-479" fmla="*/ 5932221 w 8915642"/>
              <a:gd name="connsiteY1-480" fmla="*/ 152725 h 6642302"/>
              <a:gd name="connsiteX2-481" fmla="*/ 8915642 w 8915642"/>
              <a:gd name="connsiteY2-482" fmla="*/ 6640648 h 6642302"/>
              <a:gd name="connsiteX3-483" fmla="*/ 579722 w 8915642"/>
              <a:gd name="connsiteY3-484" fmla="*/ 6642302 h 6642302"/>
              <a:gd name="connsiteX4-485" fmla="*/ 0 w 8915642"/>
              <a:gd name="connsiteY4-486" fmla="*/ 6062580 h 6642302"/>
              <a:gd name="connsiteX5-487" fmla="*/ 0 w 8915642"/>
              <a:gd name="connsiteY5-488" fmla="*/ 0 h 6642302"/>
              <a:gd name="connsiteX0-489" fmla="*/ 0 w 8915642"/>
              <a:gd name="connsiteY0-490" fmla="*/ 1654 h 6643956"/>
              <a:gd name="connsiteX1-491" fmla="*/ 6003473 w 8915642"/>
              <a:gd name="connsiteY1-492" fmla="*/ 0 h 6643956"/>
              <a:gd name="connsiteX2-493" fmla="*/ 8915642 w 8915642"/>
              <a:gd name="connsiteY2-494" fmla="*/ 6642302 h 6643956"/>
              <a:gd name="connsiteX3-495" fmla="*/ 579722 w 8915642"/>
              <a:gd name="connsiteY3-496" fmla="*/ 6643956 h 6643956"/>
              <a:gd name="connsiteX4-497" fmla="*/ 0 w 8915642"/>
              <a:gd name="connsiteY4-498" fmla="*/ 6064234 h 6643956"/>
              <a:gd name="connsiteX5-499" fmla="*/ 0 w 8915642"/>
              <a:gd name="connsiteY5-500" fmla="*/ 1654 h 6643956"/>
              <a:gd name="connsiteX0-501" fmla="*/ 0 w 6018062"/>
              <a:gd name="connsiteY0-502" fmla="*/ 1654 h 6654178"/>
              <a:gd name="connsiteX1-503" fmla="*/ 6003473 w 6018062"/>
              <a:gd name="connsiteY1-504" fmla="*/ 0 h 6654178"/>
              <a:gd name="connsiteX2-505" fmla="*/ 6018062 w 6018062"/>
              <a:gd name="connsiteY2-506" fmla="*/ 6654178 h 6654178"/>
              <a:gd name="connsiteX3-507" fmla="*/ 579722 w 6018062"/>
              <a:gd name="connsiteY3-508" fmla="*/ 6643956 h 6654178"/>
              <a:gd name="connsiteX4-509" fmla="*/ 0 w 6018062"/>
              <a:gd name="connsiteY4-510" fmla="*/ 6064234 h 6654178"/>
              <a:gd name="connsiteX5-511" fmla="*/ 0 w 6018062"/>
              <a:gd name="connsiteY5-512" fmla="*/ 1654 h 6654178"/>
              <a:gd name="connsiteX0-513" fmla="*/ 0 w 6018062"/>
              <a:gd name="connsiteY0-514" fmla="*/ 203535 h 6654178"/>
              <a:gd name="connsiteX1-515" fmla="*/ 6003473 w 6018062"/>
              <a:gd name="connsiteY1-516" fmla="*/ 0 h 6654178"/>
              <a:gd name="connsiteX2-517" fmla="*/ 6018062 w 6018062"/>
              <a:gd name="connsiteY2-518" fmla="*/ 6654178 h 6654178"/>
              <a:gd name="connsiteX3-519" fmla="*/ 579722 w 6018062"/>
              <a:gd name="connsiteY3-520" fmla="*/ 6643956 h 6654178"/>
              <a:gd name="connsiteX4-521" fmla="*/ 0 w 6018062"/>
              <a:gd name="connsiteY4-522" fmla="*/ 6064234 h 6654178"/>
              <a:gd name="connsiteX5-523" fmla="*/ 0 w 6018062"/>
              <a:gd name="connsiteY5-524" fmla="*/ 203535 h 6654178"/>
              <a:gd name="connsiteX0-525" fmla="*/ 0 w 6018062"/>
              <a:gd name="connsiteY0-526" fmla="*/ 1655 h 6452298"/>
              <a:gd name="connsiteX1-527" fmla="*/ 4055920 w 6018062"/>
              <a:gd name="connsiteY1-528" fmla="*/ 0 h 6452298"/>
              <a:gd name="connsiteX2-529" fmla="*/ 6018062 w 6018062"/>
              <a:gd name="connsiteY2-530" fmla="*/ 6452298 h 6452298"/>
              <a:gd name="connsiteX3-531" fmla="*/ 579722 w 6018062"/>
              <a:gd name="connsiteY3-532" fmla="*/ 6442076 h 6452298"/>
              <a:gd name="connsiteX4-533" fmla="*/ 0 w 6018062"/>
              <a:gd name="connsiteY4-534" fmla="*/ 5862354 h 6452298"/>
              <a:gd name="connsiteX5-535" fmla="*/ 0 w 6018062"/>
              <a:gd name="connsiteY5-536" fmla="*/ 1655 h 6452298"/>
              <a:gd name="connsiteX0-537" fmla="*/ 0 w 4055973"/>
              <a:gd name="connsiteY0-538" fmla="*/ 1655 h 6452298"/>
              <a:gd name="connsiteX1-539" fmla="*/ 4055920 w 4055973"/>
              <a:gd name="connsiteY1-540" fmla="*/ 0 h 6452298"/>
              <a:gd name="connsiteX2-541" fmla="*/ 4046758 w 4055973"/>
              <a:gd name="connsiteY2-542" fmla="*/ 6452298 h 6452298"/>
              <a:gd name="connsiteX3-543" fmla="*/ 579722 w 4055973"/>
              <a:gd name="connsiteY3-544" fmla="*/ 6442076 h 6452298"/>
              <a:gd name="connsiteX4-545" fmla="*/ 0 w 4055973"/>
              <a:gd name="connsiteY4-546" fmla="*/ 5862354 h 6452298"/>
              <a:gd name="connsiteX5-547" fmla="*/ 0 w 4055973"/>
              <a:gd name="connsiteY5-548" fmla="*/ 1655 h 6452298"/>
              <a:gd name="connsiteX0-549" fmla="*/ 0 w 4055973"/>
              <a:gd name="connsiteY0-550" fmla="*/ 0 h 6652523"/>
              <a:gd name="connsiteX1-551" fmla="*/ 4055920 w 4055973"/>
              <a:gd name="connsiteY1-552" fmla="*/ 200225 h 6652523"/>
              <a:gd name="connsiteX2-553" fmla="*/ 4046758 w 4055973"/>
              <a:gd name="connsiteY2-554" fmla="*/ 6652523 h 6652523"/>
              <a:gd name="connsiteX3-555" fmla="*/ 579722 w 4055973"/>
              <a:gd name="connsiteY3-556" fmla="*/ 6642301 h 6652523"/>
              <a:gd name="connsiteX4-557" fmla="*/ 0 w 4055973"/>
              <a:gd name="connsiteY4-558" fmla="*/ 6062579 h 6652523"/>
              <a:gd name="connsiteX5-559" fmla="*/ 0 w 4055973"/>
              <a:gd name="connsiteY5-560" fmla="*/ 0 h 6652523"/>
              <a:gd name="connsiteX0-561" fmla="*/ 0 w 4046758"/>
              <a:gd name="connsiteY0-562" fmla="*/ 0 h 6652523"/>
              <a:gd name="connsiteX1-563" fmla="*/ 4044045 w 4046758"/>
              <a:gd name="connsiteY1-564" fmla="*/ 10220 h 6652523"/>
              <a:gd name="connsiteX2-565" fmla="*/ 4046758 w 4046758"/>
              <a:gd name="connsiteY2-566" fmla="*/ 6652523 h 6652523"/>
              <a:gd name="connsiteX3-567" fmla="*/ 579722 w 4046758"/>
              <a:gd name="connsiteY3-568" fmla="*/ 6642301 h 6652523"/>
              <a:gd name="connsiteX4-569" fmla="*/ 0 w 4046758"/>
              <a:gd name="connsiteY4-570" fmla="*/ 6062579 h 6652523"/>
              <a:gd name="connsiteX5-571" fmla="*/ 0 w 4046758"/>
              <a:gd name="connsiteY5-572" fmla="*/ 0 h 6652523"/>
              <a:gd name="connsiteX0-573" fmla="*/ 0 w 4046758"/>
              <a:gd name="connsiteY0-574" fmla="*/ 1655 h 6654178"/>
              <a:gd name="connsiteX1-575" fmla="*/ 3082144 w 4046758"/>
              <a:gd name="connsiteY1-576" fmla="*/ 0 h 6654178"/>
              <a:gd name="connsiteX2-577" fmla="*/ 4046758 w 4046758"/>
              <a:gd name="connsiteY2-578" fmla="*/ 6654178 h 6654178"/>
              <a:gd name="connsiteX3-579" fmla="*/ 579722 w 4046758"/>
              <a:gd name="connsiteY3-580" fmla="*/ 6643956 h 6654178"/>
              <a:gd name="connsiteX4-581" fmla="*/ 0 w 4046758"/>
              <a:gd name="connsiteY4-582" fmla="*/ 6064234 h 6654178"/>
              <a:gd name="connsiteX5-583" fmla="*/ 0 w 4046758"/>
              <a:gd name="connsiteY5-584" fmla="*/ 1655 h 6654178"/>
              <a:gd name="connsiteX0-585" fmla="*/ 0 w 4046758"/>
              <a:gd name="connsiteY0-586" fmla="*/ 0 h 6652523"/>
              <a:gd name="connsiteX1-587" fmla="*/ 2975266 w 4046758"/>
              <a:gd name="connsiteY1-588" fmla="*/ 93348 h 6652523"/>
              <a:gd name="connsiteX2-589" fmla="*/ 4046758 w 4046758"/>
              <a:gd name="connsiteY2-590" fmla="*/ 6652523 h 6652523"/>
              <a:gd name="connsiteX3-591" fmla="*/ 579722 w 4046758"/>
              <a:gd name="connsiteY3-592" fmla="*/ 6642301 h 6652523"/>
              <a:gd name="connsiteX4-593" fmla="*/ 0 w 4046758"/>
              <a:gd name="connsiteY4-594" fmla="*/ 6062579 h 6652523"/>
              <a:gd name="connsiteX5-595" fmla="*/ 0 w 4046758"/>
              <a:gd name="connsiteY5-596" fmla="*/ 0 h 6652523"/>
              <a:gd name="connsiteX0-597" fmla="*/ 0 w 4046758"/>
              <a:gd name="connsiteY0-598" fmla="*/ 0 h 6652523"/>
              <a:gd name="connsiteX1-599" fmla="*/ 3070268 w 4046758"/>
              <a:gd name="connsiteY1-600" fmla="*/ 10220 h 6652523"/>
              <a:gd name="connsiteX2-601" fmla="*/ 4046758 w 4046758"/>
              <a:gd name="connsiteY2-602" fmla="*/ 6652523 h 6652523"/>
              <a:gd name="connsiteX3-603" fmla="*/ 579722 w 4046758"/>
              <a:gd name="connsiteY3-604" fmla="*/ 6642301 h 6652523"/>
              <a:gd name="connsiteX4-605" fmla="*/ 0 w 4046758"/>
              <a:gd name="connsiteY4-606" fmla="*/ 6062579 h 6652523"/>
              <a:gd name="connsiteX5-607" fmla="*/ 0 w 4046758"/>
              <a:gd name="connsiteY5-608" fmla="*/ 0 h 6652523"/>
              <a:gd name="connsiteX0-609" fmla="*/ 0 w 4046758"/>
              <a:gd name="connsiteY0-610" fmla="*/ 0 h 6652523"/>
              <a:gd name="connsiteX1-611" fmla="*/ 3082144 w 4046758"/>
              <a:gd name="connsiteY1-612" fmla="*/ 10220 h 6652523"/>
              <a:gd name="connsiteX2-613" fmla="*/ 4046758 w 4046758"/>
              <a:gd name="connsiteY2-614" fmla="*/ 6652523 h 6652523"/>
              <a:gd name="connsiteX3-615" fmla="*/ 579722 w 4046758"/>
              <a:gd name="connsiteY3-616" fmla="*/ 6642301 h 6652523"/>
              <a:gd name="connsiteX4-617" fmla="*/ 0 w 4046758"/>
              <a:gd name="connsiteY4-618" fmla="*/ 6062579 h 6652523"/>
              <a:gd name="connsiteX5-619" fmla="*/ 0 w 4046758"/>
              <a:gd name="connsiteY5-620" fmla="*/ 0 h 6652523"/>
              <a:gd name="connsiteX0-621" fmla="*/ 0 w 3082197"/>
              <a:gd name="connsiteY0-622" fmla="*/ 0 h 6652523"/>
              <a:gd name="connsiteX1-623" fmla="*/ 3082144 w 3082197"/>
              <a:gd name="connsiteY1-624" fmla="*/ 10220 h 6652523"/>
              <a:gd name="connsiteX2-625" fmla="*/ 3072982 w 3082197"/>
              <a:gd name="connsiteY2-626" fmla="*/ 6652523 h 6652523"/>
              <a:gd name="connsiteX3-627" fmla="*/ 579722 w 3082197"/>
              <a:gd name="connsiteY3-628" fmla="*/ 6642301 h 6652523"/>
              <a:gd name="connsiteX4-629" fmla="*/ 0 w 3082197"/>
              <a:gd name="connsiteY4-630" fmla="*/ 6062579 h 6652523"/>
              <a:gd name="connsiteX5-631" fmla="*/ 0 w 3082197"/>
              <a:gd name="connsiteY5-632" fmla="*/ 0 h 6652523"/>
              <a:gd name="connsiteX0-633" fmla="*/ 0 w 3072982"/>
              <a:gd name="connsiteY0-634" fmla="*/ 0 h 6652523"/>
              <a:gd name="connsiteX1-635" fmla="*/ 3010892 w 3072982"/>
              <a:gd name="connsiteY1-636" fmla="*/ 164599 h 6652523"/>
              <a:gd name="connsiteX2-637" fmla="*/ 3072982 w 3072982"/>
              <a:gd name="connsiteY2-638" fmla="*/ 6652523 h 6652523"/>
              <a:gd name="connsiteX3-639" fmla="*/ 579722 w 3072982"/>
              <a:gd name="connsiteY3-640" fmla="*/ 6642301 h 6652523"/>
              <a:gd name="connsiteX4-641" fmla="*/ 0 w 3072982"/>
              <a:gd name="connsiteY4-642" fmla="*/ 6062579 h 6652523"/>
              <a:gd name="connsiteX5-643" fmla="*/ 0 w 3072982"/>
              <a:gd name="connsiteY5-644" fmla="*/ 0 h 6652523"/>
              <a:gd name="connsiteX0-645" fmla="*/ 0 w 3082197"/>
              <a:gd name="connsiteY0-646" fmla="*/ 1656 h 6654179"/>
              <a:gd name="connsiteX1-647" fmla="*/ 3082144 w 3082197"/>
              <a:gd name="connsiteY1-648" fmla="*/ 0 h 6654179"/>
              <a:gd name="connsiteX2-649" fmla="*/ 3072982 w 3082197"/>
              <a:gd name="connsiteY2-650" fmla="*/ 6654179 h 6654179"/>
              <a:gd name="connsiteX3-651" fmla="*/ 579722 w 3082197"/>
              <a:gd name="connsiteY3-652" fmla="*/ 6643957 h 6654179"/>
              <a:gd name="connsiteX4-653" fmla="*/ 0 w 3082197"/>
              <a:gd name="connsiteY4-654" fmla="*/ 6064235 h 6654179"/>
              <a:gd name="connsiteX5-655" fmla="*/ 0 w 3082197"/>
              <a:gd name="connsiteY5-656" fmla="*/ 1656 h 6654179"/>
              <a:gd name="connsiteX0-657" fmla="*/ 0 w 3082197"/>
              <a:gd name="connsiteY0-658" fmla="*/ 1316107 h 6654179"/>
              <a:gd name="connsiteX1-659" fmla="*/ 3082144 w 3082197"/>
              <a:gd name="connsiteY1-660" fmla="*/ 0 h 6654179"/>
              <a:gd name="connsiteX2-661" fmla="*/ 3072982 w 3082197"/>
              <a:gd name="connsiteY2-662" fmla="*/ 6654179 h 6654179"/>
              <a:gd name="connsiteX3-663" fmla="*/ 579722 w 3082197"/>
              <a:gd name="connsiteY3-664" fmla="*/ 6643957 h 6654179"/>
              <a:gd name="connsiteX4-665" fmla="*/ 0 w 3082197"/>
              <a:gd name="connsiteY4-666" fmla="*/ 6064235 h 6654179"/>
              <a:gd name="connsiteX5-667" fmla="*/ 0 w 3082197"/>
              <a:gd name="connsiteY5-668" fmla="*/ 1316107 h 6654179"/>
              <a:gd name="connsiteX0-669" fmla="*/ 0 w 3082197"/>
              <a:gd name="connsiteY0-670" fmla="*/ 1657 h 5339729"/>
              <a:gd name="connsiteX1-671" fmla="*/ 3082144 w 3082197"/>
              <a:gd name="connsiteY1-672" fmla="*/ 0 h 5339729"/>
              <a:gd name="connsiteX2-673" fmla="*/ 3072982 w 3082197"/>
              <a:gd name="connsiteY2-674" fmla="*/ 5339729 h 5339729"/>
              <a:gd name="connsiteX3-675" fmla="*/ 579722 w 3082197"/>
              <a:gd name="connsiteY3-676" fmla="*/ 5329507 h 5339729"/>
              <a:gd name="connsiteX4-677" fmla="*/ 0 w 3082197"/>
              <a:gd name="connsiteY4-678" fmla="*/ 4749785 h 5339729"/>
              <a:gd name="connsiteX5-679" fmla="*/ 0 w 3082197"/>
              <a:gd name="connsiteY5-680" fmla="*/ 1657 h 5339729"/>
              <a:gd name="connsiteX0-681" fmla="*/ 0 w 3082197"/>
              <a:gd name="connsiteY0-682" fmla="*/ 2202416 h 5339729"/>
              <a:gd name="connsiteX1-683" fmla="*/ 3082144 w 3082197"/>
              <a:gd name="connsiteY1-684" fmla="*/ 0 h 5339729"/>
              <a:gd name="connsiteX2-685" fmla="*/ 3072982 w 3082197"/>
              <a:gd name="connsiteY2-686" fmla="*/ 5339729 h 5339729"/>
              <a:gd name="connsiteX3-687" fmla="*/ 579722 w 3082197"/>
              <a:gd name="connsiteY3-688" fmla="*/ 5329507 h 5339729"/>
              <a:gd name="connsiteX4-689" fmla="*/ 0 w 3082197"/>
              <a:gd name="connsiteY4-690" fmla="*/ 4749785 h 5339729"/>
              <a:gd name="connsiteX5-691" fmla="*/ 0 w 3082197"/>
              <a:gd name="connsiteY5-692" fmla="*/ 2202416 h 5339729"/>
              <a:gd name="connsiteX0-693" fmla="*/ 0 w 3082197"/>
              <a:gd name="connsiteY0-694" fmla="*/ 1656 h 3138969"/>
              <a:gd name="connsiteX1-695" fmla="*/ 3082144 w 3082197"/>
              <a:gd name="connsiteY1-696" fmla="*/ 0 h 3138969"/>
              <a:gd name="connsiteX2-697" fmla="*/ 3072982 w 3082197"/>
              <a:gd name="connsiteY2-698" fmla="*/ 3138969 h 3138969"/>
              <a:gd name="connsiteX3-699" fmla="*/ 579722 w 3082197"/>
              <a:gd name="connsiteY3-700" fmla="*/ 3128747 h 3138969"/>
              <a:gd name="connsiteX4-701" fmla="*/ 0 w 3082197"/>
              <a:gd name="connsiteY4-702" fmla="*/ 2549025 h 3138969"/>
              <a:gd name="connsiteX5-703" fmla="*/ 0 w 3082197"/>
              <a:gd name="connsiteY5-704" fmla="*/ 1656 h 3138969"/>
              <a:gd name="connsiteX0-705" fmla="*/ 0 w 3082145"/>
              <a:gd name="connsiteY0-706" fmla="*/ 1656 h 3150544"/>
              <a:gd name="connsiteX1-707" fmla="*/ 3082144 w 3082145"/>
              <a:gd name="connsiteY1-708" fmla="*/ 0 h 3150544"/>
              <a:gd name="connsiteX2-709" fmla="*/ 2772041 w 3082145"/>
              <a:gd name="connsiteY2-710" fmla="*/ 3150544 h 3150544"/>
              <a:gd name="connsiteX3-711" fmla="*/ 579722 w 3082145"/>
              <a:gd name="connsiteY3-712" fmla="*/ 3128747 h 3150544"/>
              <a:gd name="connsiteX4-713" fmla="*/ 0 w 3082145"/>
              <a:gd name="connsiteY4-714" fmla="*/ 2549025 h 3150544"/>
              <a:gd name="connsiteX5-715" fmla="*/ 0 w 3082145"/>
              <a:gd name="connsiteY5-716" fmla="*/ 1656 h 3150544"/>
              <a:gd name="connsiteX0-717" fmla="*/ 0 w 2772041"/>
              <a:gd name="connsiteY0-718" fmla="*/ 1656 h 3150544"/>
              <a:gd name="connsiteX1-719" fmla="*/ 2769627 w 2772041"/>
              <a:gd name="connsiteY1-720" fmla="*/ 0 h 3150544"/>
              <a:gd name="connsiteX2-721" fmla="*/ 2772041 w 2772041"/>
              <a:gd name="connsiteY2-722" fmla="*/ 3150544 h 3150544"/>
              <a:gd name="connsiteX3-723" fmla="*/ 579722 w 2772041"/>
              <a:gd name="connsiteY3-724" fmla="*/ 3128747 h 3150544"/>
              <a:gd name="connsiteX4-725" fmla="*/ 0 w 2772041"/>
              <a:gd name="connsiteY4-726" fmla="*/ 2549025 h 3150544"/>
              <a:gd name="connsiteX5-727" fmla="*/ 0 w 2772041"/>
              <a:gd name="connsiteY5-728" fmla="*/ 1656 h 3150544"/>
              <a:gd name="connsiteX0-729" fmla="*/ 0 w 2772041"/>
              <a:gd name="connsiteY0-730" fmla="*/ 1656 h 3138969"/>
              <a:gd name="connsiteX1-731" fmla="*/ 2769627 w 2772041"/>
              <a:gd name="connsiteY1-732" fmla="*/ 0 h 3138969"/>
              <a:gd name="connsiteX2-733" fmla="*/ 2772041 w 2772041"/>
              <a:gd name="connsiteY2-734" fmla="*/ 3138969 h 3138969"/>
              <a:gd name="connsiteX3-735" fmla="*/ 579722 w 2772041"/>
              <a:gd name="connsiteY3-736" fmla="*/ 3128747 h 3138969"/>
              <a:gd name="connsiteX4-737" fmla="*/ 0 w 2772041"/>
              <a:gd name="connsiteY4-738" fmla="*/ 2549025 h 3138969"/>
              <a:gd name="connsiteX5-739" fmla="*/ 0 w 2772041"/>
              <a:gd name="connsiteY5-740" fmla="*/ 1656 h 313896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endParaRPr lang="en-US"/>
          </a:p>
        </p:txBody>
      </p:sp>
      <p:sp>
        <p:nvSpPr>
          <p:cNvPr id="25" name="Picture Placeholder 9"/>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18553"/>
              <a:gd name="connsiteX1-419" fmla="*/ 8912928 w 8915642"/>
              <a:gd name="connsiteY1-420" fmla="*/ 176478 h 6618553"/>
              <a:gd name="connsiteX2-421" fmla="*/ 8915642 w 8915642"/>
              <a:gd name="connsiteY2-422" fmla="*/ 6616899 h 6618553"/>
              <a:gd name="connsiteX3-423" fmla="*/ 579722 w 8915642"/>
              <a:gd name="connsiteY3-424" fmla="*/ 6618553 h 6618553"/>
              <a:gd name="connsiteX4-425" fmla="*/ 0 w 8915642"/>
              <a:gd name="connsiteY4-426" fmla="*/ 6038831 h 6618553"/>
              <a:gd name="connsiteX5-427" fmla="*/ 0 w 8915642"/>
              <a:gd name="connsiteY5-428" fmla="*/ 1 h 6618553"/>
              <a:gd name="connsiteX0-429" fmla="*/ 0 w 8915642"/>
              <a:gd name="connsiteY0-430" fmla="*/ 25404 h 6643956"/>
              <a:gd name="connsiteX1-431" fmla="*/ 6015348 w 8915642"/>
              <a:gd name="connsiteY1-432" fmla="*/ 0 h 6643956"/>
              <a:gd name="connsiteX2-433" fmla="*/ 8915642 w 8915642"/>
              <a:gd name="connsiteY2-434" fmla="*/ 6642302 h 6643956"/>
              <a:gd name="connsiteX3-435" fmla="*/ 579722 w 8915642"/>
              <a:gd name="connsiteY3-436" fmla="*/ 6643956 h 6643956"/>
              <a:gd name="connsiteX4-437" fmla="*/ 0 w 8915642"/>
              <a:gd name="connsiteY4-438" fmla="*/ 6064234 h 6643956"/>
              <a:gd name="connsiteX5-439" fmla="*/ 0 w 8915642"/>
              <a:gd name="connsiteY5-440" fmla="*/ 25404 h 6643956"/>
              <a:gd name="connsiteX0-441" fmla="*/ 0 w 8915642"/>
              <a:gd name="connsiteY0-442" fmla="*/ 1653 h 6620205"/>
              <a:gd name="connsiteX1-443" fmla="*/ 6003473 w 8915642"/>
              <a:gd name="connsiteY1-444" fmla="*/ 0 h 6620205"/>
              <a:gd name="connsiteX2-445" fmla="*/ 8915642 w 8915642"/>
              <a:gd name="connsiteY2-446" fmla="*/ 6618551 h 6620205"/>
              <a:gd name="connsiteX3-447" fmla="*/ 579722 w 8915642"/>
              <a:gd name="connsiteY3-448" fmla="*/ 6620205 h 6620205"/>
              <a:gd name="connsiteX4-449" fmla="*/ 0 w 8915642"/>
              <a:gd name="connsiteY4-450" fmla="*/ 6040483 h 6620205"/>
              <a:gd name="connsiteX5-451" fmla="*/ 0 w 8915642"/>
              <a:gd name="connsiteY5-452" fmla="*/ 1653 h 6620205"/>
              <a:gd name="connsiteX0-453" fmla="*/ 0 w 8915642"/>
              <a:gd name="connsiteY0-454" fmla="*/ 96656 h 6620205"/>
              <a:gd name="connsiteX1-455" fmla="*/ 6003473 w 8915642"/>
              <a:gd name="connsiteY1-456" fmla="*/ 0 h 6620205"/>
              <a:gd name="connsiteX2-457" fmla="*/ 8915642 w 8915642"/>
              <a:gd name="connsiteY2-458" fmla="*/ 6618551 h 6620205"/>
              <a:gd name="connsiteX3-459" fmla="*/ 579722 w 8915642"/>
              <a:gd name="connsiteY3-460" fmla="*/ 6620205 h 6620205"/>
              <a:gd name="connsiteX4-461" fmla="*/ 0 w 8915642"/>
              <a:gd name="connsiteY4-462" fmla="*/ 6040483 h 6620205"/>
              <a:gd name="connsiteX5-463" fmla="*/ 0 w 8915642"/>
              <a:gd name="connsiteY5-464" fmla="*/ 96656 h 6620205"/>
              <a:gd name="connsiteX0-465" fmla="*/ 0 w 8915642"/>
              <a:gd name="connsiteY0-466" fmla="*/ 0 h 6642302"/>
              <a:gd name="connsiteX1-467" fmla="*/ 6003473 w 8915642"/>
              <a:gd name="connsiteY1-468" fmla="*/ 22097 h 6642302"/>
              <a:gd name="connsiteX2-469" fmla="*/ 8915642 w 8915642"/>
              <a:gd name="connsiteY2-470" fmla="*/ 6640648 h 6642302"/>
              <a:gd name="connsiteX3-471" fmla="*/ 579722 w 8915642"/>
              <a:gd name="connsiteY3-472" fmla="*/ 6642302 h 6642302"/>
              <a:gd name="connsiteX4-473" fmla="*/ 0 w 8915642"/>
              <a:gd name="connsiteY4-474" fmla="*/ 6062580 h 6642302"/>
              <a:gd name="connsiteX5-475" fmla="*/ 0 w 8915642"/>
              <a:gd name="connsiteY5-476" fmla="*/ 0 h 6642302"/>
              <a:gd name="connsiteX0-477" fmla="*/ 0 w 8915642"/>
              <a:gd name="connsiteY0-478" fmla="*/ 0 h 6642302"/>
              <a:gd name="connsiteX1-479" fmla="*/ 5932221 w 8915642"/>
              <a:gd name="connsiteY1-480" fmla="*/ 152725 h 6642302"/>
              <a:gd name="connsiteX2-481" fmla="*/ 8915642 w 8915642"/>
              <a:gd name="connsiteY2-482" fmla="*/ 6640648 h 6642302"/>
              <a:gd name="connsiteX3-483" fmla="*/ 579722 w 8915642"/>
              <a:gd name="connsiteY3-484" fmla="*/ 6642302 h 6642302"/>
              <a:gd name="connsiteX4-485" fmla="*/ 0 w 8915642"/>
              <a:gd name="connsiteY4-486" fmla="*/ 6062580 h 6642302"/>
              <a:gd name="connsiteX5-487" fmla="*/ 0 w 8915642"/>
              <a:gd name="connsiteY5-488" fmla="*/ 0 h 6642302"/>
              <a:gd name="connsiteX0-489" fmla="*/ 0 w 8915642"/>
              <a:gd name="connsiteY0-490" fmla="*/ 1654 h 6643956"/>
              <a:gd name="connsiteX1-491" fmla="*/ 6003473 w 8915642"/>
              <a:gd name="connsiteY1-492" fmla="*/ 0 h 6643956"/>
              <a:gd name="connsiteX2-493" fmla="*/ 8915642 w 8915642"/>
              <a:gd name="connsiteY2-494" fmla="*/ 6642302 h 6643956"/>
              <a:gd name="connsiteX3-495" fmla="*/ 579722 w 8915642"/>
              <a:gd name="connsiteY3-496" fmla="*/ 6643956 h 6643956"/>
              <a:gd name="connsiteX4-497" fmla="*/ 0 w 8915642"/>
              <a:gd name="connsiteY4-498" fmla="*/ 6064234 h 6643956"/>
              <a:gd name="connsiteX5-499" fmla="*/ 0 w 8915642"/>
              <a:gd name="connsiteY5-500" fmla="*/ 1654 h 6643956"/>
              <a:gd name="connsiteX0-501" fmla="*/ 0 w 6018062"/>
              <a:gd name="connsiteY0-502" fmla="*/ 1654 h 6654178"/>
              <a:gd name="connsiteX1-503" fmla="*/ 6003473 w 6018062"/>
              <a:gd name="connsiteY1-504" fmla="*/ 0 h 6654178"/>
              <a:gd name="connsiteX2-505" fmla="*/ 6018062 w 6018062"/>
              <a:gd name="connsiteY2-506" fmla="*/ 6654178 h 6654178"/>
              <a:gd name="connsiteX3-507" fmla="*/ 579722 w 6018062"/>
              <a:gd name="connsiteY3-508" fmla="*/ 6643956 h 6654178"/>
              <a:gd name="connsiteX4-509" fmla="*/ 0 w 6018062"/>
              <a:gd name="connsiteY4-510" fmla="*/ 6064234 h 6654178"/>
              <a:gd name="connsiteX5-511" fmla="*/ 0 w 6018062"/>
              <a:gd name="connsiteY5-512" fmla="*/ 1654 h 6654178"/>
              <a:gd name="connsiteX0-513" fmla="*/ 0 w 6018062"/>
              <a:gd name="connsiteY0-514" fmla="*/ 203535 h 6654178"/>
              <a:gd name="connsiteX1-515" fmla="*/ 6003473 w 6018062"/>
              <a:gd name="connsiteY1-516" fmla="*/ 0 h 6654178"/>
              <a:gd name="connsiteX2-517" fmla="*/ 6018062 w 6018062"/>
              <a:gd name="connsiteY2-518" fmla="*/ 6654178 h 6654178"/>
              <a:gd name="connsiteX3-519" fmla="*/ 579722 w 6018062"/>
              <a:gd name="connsiteY3-520" fmla="*/ 6643956 h 6654178"/>
              <a:gd name="connsiteX4-521" fmla="*/ 0 w 6018062"/>
              <a:gd name="connsiteY4-522" fmla="*/ 6064234 h 6654178"/>
              <a:gd name="connsiteX5-523" fmla="*/ 0 w 6018062"/>
              <a:gd name="connsiteY5-524" fmla="*/ 203535 h 6654178"/>
              <a:gd name="connsiteX0-525" fmla="*/ 0 w 6018062"/>
              <a:gd name="connsiteY0-526" fmla="*/ 1655 h 6452298"/>
              <a:gd name="connsiteX1-527" fmla="*/ 4055920 w 6018062"/>
              <a:gd name="connsiteY1-528" fmla="*/ 0 h 6452298"/>
              <a:gd name="connsiteX2-529" fmla="*/ 6018062 w 6018062"/>
              <a:gd name="connsiteY2-530" fmla="*/ 6452298 h 6452298"/>
              <a:gd name="connsiteX3-531" fmla="*/ 579722 w 6018062"/>
              <a:gd name="connsiteY3-532" fmla="*/ 6442076 h 6452298"/>
              <a:gd name="connsiteX4-533" fmla="*/ 0 w 6018062"/>
              <a:gd name="connsiteY4-534" fmla="*/ 5862354 h 6452298"/>
              <a:gd name="connsiteX5-535" fmla="*/ 0 w 6018062"/>
              <a:gd name="connsiteY5-536" fmla="*/ 1655 h 6452298"/>
              <a:gd name="connsiteX0-537" fmla="*/ 0 w 4055973"/>
              <a:gd name="connsiteY0-538" fmla="*/ 1655 h 6452298"/>
              <a:gd name="connsiteX1-539" fmla="*/ 4055920 w 4055973"/>
              <a:gd name="connsiteY1-540" fmla="*/ 0 h 6452298"/>
              <a:gd name="connsiteX2-541" fmla="*/ 4046758 w 4055973"/>
              <a:gd name="connsiteY2-542" fmla="*/ 6452298 h 6452298"/>
              <a:gd name="connsiteX3-543" fmla="*/ 579722 w 4055973"/>
              <a:gd name="connsiteY3-544" fmla="*/ 6442076 h 6452298"/>
              <a:gd name="connsiteX4-545" fmla="*/ 0 w 4055973"/>
              <a:gd name="connsiteY4-546" fmla="*/ 5862354 h 6452298"/>
              <a:gd name="connsiteX5-547" fmla="*/ 0 w 4055973"/>
              <a:gd name="connsiteY5-548" fmla="*/ 1655 h 6452298"/>
              <a:gd name="connsiteX0-549" fmla="*/ 0 w 4055973"/>
              <a:gd name="connsiteY0-550" fmla="*/ 0 h 6652523"/>
              <a:gd name="connsiteX1-551" fmla="*/ 4055920 w 4055973"/>
              <a:gd name="connsiteY1-552" fmla="*/ 200225 h 6652523"/>
              <a:gd name="connsiteX2-553" fmla="*/ 4046758 w 4055973"/>
              <a:gd name="connsiteY2-554" fmla="*/ 6652523 h 6652523"/>
              <a:gd name="connsiteX3-555" fmla="*/ 579722 w 4055973"/>
              <a:gd name="connsiteY3-556" fmla="*/ 6642301 h 6652523"/>
              <a:gd name="connsiteX4-557" fmla="*/ 0 w 4055973"/>
              <a:gd name="connsiteY4-558" fmla="*/ 6062579 h 6652523"/>
              <a:gd name="connsiteX5-559" fmla="*/ 0 w 4055973"/>
              <a:gd name="connsiteY5-560" fmla="*/ 0 h 6652523"/>
              <a:gd name="connsiteX0-561" fmla="*/ 0 w 4046758"/>
              <a:gd name="connsiteY0-562" fmla="*/ 0 h 6652523"/>
              <a:gd name="connsiteX1-563" fmla="*/ 4044045 w 4046758"/>
              <a:gd name="connsiteY1-564" fmla="*/ 10220 h 6652523"/>
              <a:gd name="connsiteX2-565" fmla="*/ 4046758 w 4046758"/>
              <a:gd name="connsiteY2-566" fmla="*/ 6652523 h 6652523"/>
              <a:gd name="connsiteX3-567" fmla="*/ 579722 w 4046758"/>
              <a:gd name="connsiteY3-568" fmla="*/ 6642301 h 6652523"/>
              <a:gd name="connsiteX4-569" fmla="*/ 0 w 4046758"/>
              <a:gd name="connsiteY4-570" fmla="*/ 6062579 h 6652523"/>
              <a:gd name="connsiteX5-571" fmla="*/ 0 w 4046758"/>
              <a:gd name="connsiteY5-572" fmla="*/ 0 h 6652523"/>
              <a:gd name="connsiteX0-573" fmla="*/ 0 w 4046758"/>
              <a:gd name="connsiteY0-574" fmla="*/ 1655 h 6654178"/>
              <a:gd name="connsiteX1-575" fmla="*/ 3082144 w 4046758"/>
              <a:gd name="connsiteY1-576" fmla="*/ 0 h 6654178"/>
              <a:gd name="connsiteX2-577" fmla="*/ 4046758 w 4046758"/>
              <a:gd name="connsiteY2-578" fmla="*/ 6654178 h 6654178"/>
              <a:gd name="connsiteX3-579" fmla="*/ 579722 w 4046758"/>
              <a:gd name="connsiteY3-580" fmla="*/ 6643956 h 6654178"/>
              <a:gd name="connsiteX4-581" fmla="*/ 0 w 4046758"/>
              <a:gd name="connsiteY4-582" fmla="*/ 6064234 h 6654178"/>
              <a:gd name="connsiteX5-583" fmla="*/ 0 w 4046758"/>
              <a:gd name="connsiteY5-584" fmla="*/ 1655 h 6654178"/>
              <a:gd name="connsiteX0-585" fmla="*/ 0 w 4046758"/>
              <a:gd name="connsiteY0-586" fmla="*/ 0 h 6652523"/>
              <a:gd name="connsiteX1-587" fmla="*/ 2975266 w 4046758"/>
              <a:gd name="connsiteY1-588" fmla="*/ 93348 h 6652523"/>
              <a:gd name="connsiteX2-589" fmla="*/ 4046758 w 4046758"/>
              <a:gd name="connsiteY2-590" fmla="*/ 6652523 h 6652523"/>
              <a:gd name="connsiteX3-591" fmla="*/ 579722 w 4046758"/>
              <a:gd name="connsiteY3-592" fmla="*/ 6642301 h 6652523"/>
              <a:gd name="connsiteX4-593" fmla="*/ 0 w 4046758"/>
              <a:gd name="connsiteY4-594" fmla="*/ 6062579 h 6652523"/>
              <a:gd name="connsiteX5-595" fmla="*/ 0 w 4046758"/>
              <a:gd name="connsiteY5-596" fmla="*/ 0 h 6652523"/>
              <a:gd name="connsiteX0-597" fmla="*/ 0 w 4046758"/>
              <a:gd name="connsiteY0-598" fmla="*/ 0 h 6652523"/>
              <a:gd name="connsiteX1-599" fmla="*/ 3070268 w 4046758"/>
              <a:gd name="connsiteY1-600" fmla="*/ 10220 h 6652523"/>
              <a:gd name="connsiteX2-601" fmla="*/ 4046758 w 4046758"/>
              <a:gd name="connsiteY2-602" fmla="*/ 6652523 h 6652523"/>
              <a:gd name="connsiteX3-603" fmla="*/ 579722 w 4046758"/>
              <a:gd name="connsiteY3-604" fmla="*/ 6642301 h 6652523"/>
              <a:gd name="connsiteX4-605" fmla="*/ 0 w 4046758"/>
              <a:gd name="connsiteY4-606" fmla="*/ 6062579 h 6652523"/>
              <a:gd name="connsiteX5-607" fmla="*/ 0 w 4046758"/>
              <a:gd name="connsiteY5-608" fmla="*/ 0 h 6652523"/>
              <a:gd name="connsiteX0-609" fmla="*/ 0 w 4046758"/>
              <a:gd name="connsiteY0-610" fmla="*/ 0 h 6652523"/>
              <a:gd name="connsiteX1-611" fmla="*/ 3082144 w 4046758"/>
              <a:gd name="connsiteY1-612" fmla="*/ 10220 h 6652523"/>
              <a:gd name="connsiteX2-613" fmla="*/ 4046758 w 4046758"/>
              <a:gd name="connsiteY2-614" fmla="*/ 6652523 h 6652523"/>
              <a:gd name="connsiteX3-615" fmla="*/ 579722 w 4046758"/>
              <a:gd name="connsiteY3-616" fmla="*/ 6642301 h 6652523"/>
              <a:gd name="connsiteX4-617" fmla="*/ 0 w 4046758"/>
              <a:gd name="connsiteY4-618" fmla="*/ 6062579 h 6652523"/>
              <a:gd name="connsiteX5-619" fmla="*/ 0 w 4046758"/>
              <a:gd name="connsiteY5-620" fmla="*/ 0 h 6652523"/>
              <a:gd name="connsiteX0-621" fmla="*/ 0 w 3082197"/>
              <a:gd name="connsiteY0-622" fmla="*/ 0 h 6652523"/>
              <a:gd name="connsiteX1-623" fmla="*/ 3082144 w 3082197"/>
              <a:gd name="connsiteY1-624" fmla="*/ 10220 h 6652523"/>
              <a:gd name="connsiteX2-625" fmla="*/ 3072982 w 3082197"/>
              <a:gd name="connsiteY2-626" fmla="*/ 6652523 h 6652523"/>
              <a:gd name="connsiteX3-627" fmla="*/ 579722 w 3082197"/>
              <a:gd name="connsiteY3-628" fmla="*/ 6642301 h 6652523"/>
              <a:gd name="connsiteX4-629" fmla="*/ 0 w 3082197"/>
              <a:gd name="connsiteY4-630" fmla="*/ 6062579 h 6652523"/>
              <a:gd name="connsiteX5-631" fmla="*/ 0 w 3082197"/>
              <a:gd name="connsiteY5-632" fmla="*/ 0 h 6652523"/>
              <a:gd name="connsiteX0-633" fmla="*/ 0 w 3072982"/>
              <a:gd name="connsiteY0-634" fmla="*/ 0 h 6652523"/>
              <a:gd name="connsiteX1-635" fmla="*/ 3010892 w 3072982"/>
              <a:gd name="connsiteY1-636" fmla="*/ 164599 h 6652523"/>
              <a:gd name="connsiteX2-637" fmla="*/ 3072982 w 3072982"/>
              <a:gd name="connsiteY2-638" fmla="*/ 6652523 h 6652523"/>
              <a:gd name="connsiteX3-639" fmla="*/ 579722 w 3072982"/>
              <a:gd name="connsiteY3-640" fmla="*/ 6642301 h 6652523"/>
              <a:gd name="connsiteX4-641" fmla="*/ 0 w 3072982"/>
              <a:gd name="connsiteY4-642" fmla="*/ 6062579 h 6652523"/>
              <a:gd name="connsiteX5-643" fmla="*/ 0 w 3072982"/>
              <a:gd name="connsiteY5-644" fmla="*/ 0 h 6652523"/>
              <a:gd name="connsiteX0-645" fmla="*/ 0 w 3082197"/>
              <a:gd name="connsiteY0-646" fmla="*/ 1656 h 6654179"/>
              <a:gd name="connsiteX1-647" fmla="*/ 3082144 w 3082197"/>
              <a:gd name="connsiteY1-648" fmla="*/ 0 h 6654179"/>
              <a:gd name="connsiteX2-649" fmla="*/ 3072982 w 3082197"/>
              <a:gd name="connsiteY2-650" fmla="*/ 6654179 h 6654179"/>
              <a:gd name="connsiteX3-651" fmla="*/ 579722 w 3082197"/>
              <a:gd name="connsiteY3-652" fmla="*/ 6643957 h 6654179"/>
              <a:gd name="connsiteX4-653" fmla="*/ 0 w 3082197"/>
              <a:gd name="connsiteY4-654" fmla="*/ 6064235 h 6654179"/>
              <a:gd name="connsiteX5-655" fmla="*/ 0 w 3082197"/>
              <a:gd name="connsiteY5-656" fmla="*/ 1656 h 6654179"/>
              <a:gd name="connsiteX0-657" fmla="*/ 0 w 3082197"/>
              <a:gd name="connsiteY0-658" fmla="*/ 1316107 h 6654179"/>
              <a:gd name="connsiteX1-659" fmla="*/ 3082144 w 3082197"/>
              <a:gd name="connsiteY1-660" fmla="*/ 0 h 6654179"/>
              <a:gd name="connsiteX2-661" fmla="*/ 3072982 w 3082197"/>
              <a:gd name="connsiteY2-662" fmla="*/ 6654179 h 6654179"/>
              <a:gd name="connsiteX3-663" fmla="*/ 579722 w 3082197"/>
              <a:gd name="connsiteY3-664" fmla="*/ 6643957 h 6654179"/>
              <a:gd name="connsiteX4-665" fmla="*/ 0 w 3082197"/>
              <a:gd name="connsiteY4-666" fmla="*/ 6064235 h 6654179"/>
              <a:gd name="connsiteX5-667" fmla="*/ 0 w 3082197"/>
              <a:gd name="connsiteY5-668" fmla="*/ 1316107 h 6654179"/>
              <a:gd name="connsiteX0-669" fmla="*/ 0 w 3082197"/>
              <a:gd name="connsiteY0-670" fmla="*/ 1657 h 5339729"/>
              <a:gd name="connsiteX1-671" fmla="*/ 3082144 w 3082197"/>
              <a:gd name="connsiteY1-672" fmla="*/ 0 h 5339729"/>
              <a:gd name="connsiteX2-673" fmla="*/ 3072982 w 3082197"/>
              <a:gd name="connsiteY2-674" fmla="*/ 5339729 h 5339729"/>
              <a:gd name="connsiteX3-675" fmla="*/ 579722 w 3082197"/>
              <a:gd name="connsiteY3-676" fmla="*/ 5329507 h 5339729"/>
              <a:gd name="connsiteX4-677" fmla="*/ 0 w 3082197"/>
              <a:gd name="connsiteY4-678" fmla="*/ 4749785 h 5339729"/>
              <a:gd name="connsiteX5-679" fmla="*/ 0 w 3082197"/>
              <a:gd name="connsiteY5-680" fmla="*/ 1657 h 5339729"/>
              <a:gd name="connsiteX0-681" fmla="*/ 0 w 3082197"/>
              <a:gd name="connsiteY0-682" fmla="*/ 2202416 h 5339729"/>
              <a:gd name="connsiteX1-683" fmla="*/ 3082144 w 3082197"/>
              <a:gd name="connsiteY1-684" fmla="*/ 0 h 5339729"/>
              <a:gd name="connsiteX2-685" fmla="*/ 3072982 w 3082197"/>
              <a:gd name="connsiteY2-686" fmla="*/ 5339729 h 5339729"/>
              <a:gd name="connsiteX3-687" fmla="*/ 579722 w 3082197"/>
              <a:gd name="connsiteY3-688" fmla="*/ 5329507 h 5339729"/>
              <a:gd name="connsiteX4-689" fmla="*/ 0 w 3082197"/>
              <a:gd name="connsiteY4-690" fmla="*/ 4749785 h 5339729"/>
              <a:gd name="connsiteX5-691" fmla="*/ 0 w 3082197"/>
              <a:gd name="connsiteY5-692" fmla="*/ 2202416 h 5339729"/>
              <a:gd name="connsiteX0-693" fmla="*/ 0 w 3082197"/>
              <a:gd name="connsiteY0-694" fmla="*/ 1656 h 3138969"/>
              <a:gd name="connsiteX1-695" fmla="*/ 3082144 w 3082197"/>
              <a:gd name="connsiteY1-696" fmla="*/ 0 h 3138969"/>
              <a:gd name="connsiteX2-697" fmla="*/ 3072982 w 3082197"/>
              <a:gd name="connsiteY2-698" fmla="*/ 3138969 h 3138969"/>
              <a:gd name="connsiteX3-699" fmla="*/ 579722 w 3082197"/>
              <a:gd name="connsiteY3-700" fmla="*/ 3128747 h 3138969"/>
              <a:gd name="connsiteX4-701" fmla="*/ 0 w 3082197"/>
              <a:gd name="connsiteY4-702" fmla="*/ 2549025 h 3138969"/>
              <a:gd name="connsiteX5-703" fmla="*/ 0 w 3082197"/>
              <a:gd name="connsiteY5-704" fmla="*/ 1656 h 3138969"/>
              <a:gd name="connsiteX0-705" fmla="*/ 0 w 3082145"/>
              <a:gd name="connsiteY0-706" fmla="*/ 1656 h 3150544"/>
              <a:gd name="connsiteX1-707" fmla="*/ 3082144 w 3082145"/>
              <a:gd name="connsiteY1-708" fmla="*/ 0 h 3150544"/>
              <a:gd name="connsiteX2-709" fmla="*/ 2772041 w 3082145"/>
              <a:gd name="connsiteY2-710" fmla="*/ 3150544 h 3150544"/>
              <a:gd name="connsiteX3-711" fmla="*/ 579722 w 3082145"/>
              <a:gd name="connsiteY3-712" fmla="*/ 3128747 h 3150544"/>
              <a:gd name="connsiteX4-713" fmla="*/ 0 w 3082145"/>
              <a:gd name="connsiteY4-714" fmla="*/ 2549025 h 3150544"/>
              <a:gd name="connsiteX5-715" fmla="*/ 0 w 3082145"/>
              <a:gd name="connsiteY5-716" fmla="*/ 1656 h 3150544"/>
              <a:gd name="connsiteX0-717" fmla="*/ 0 w 2772041"/>
              <a:gd name="connsiteY0-718" fmla="*/ 1656 h 3150544"/>
              <a:gd name="connsiteX1-719" fmla="*/ 2769627 w 2772041"/>
              <a:gd name="connsiteY1-720" fmla="*/ 0 h 3150544"/>
              <a:gd name="connsiteX2-721" fmla="*/ 2772041 w 2772041"/>
              <a:gd name="connsiteY2-722" fmla="*/ 3150544 h 3150544"/>
              <a:gd name="connsiteX3-723" fmla="*/ 579722 w 2772041"/>
              <a:gd name="connsiteY3-724" fmla="*/ 3128747 h 3150544"/>
              <a:gd name="connsiteX4-725" fmla="*/ 0 w 2772041"/>
              <a:gd name="connsiteY4-726" fmla="*/ 2549025 h 3150544"/>
              <a:gd name="connsiteX5-727" fmla="*/ 0 w 2772041"/>
              <a:gd name="connsiteY5-728" fmla="*/ 1656 h 3150544"/>
              <a:gd name="connsiteX0-729" fmla="*/ 0 w 2772041"/>
              <a:gd name="connsiteY0-730" fmla="*/ 1656 h 3138969"/>
              <a:gd name="connsiteX1-731" fmla="*/ 2769627 w 2772041"/>
              <a:gd name="connsiteY1-732" fmla="*/ 0 h 3138969"/>
              <a:gd name="connsiteX2-733" fmla="*/ 2772041 w 2772041"/>
              <a:gd name="connsiteY2-734" fmla="*/ 3138969 h 3138969"/>
              <a:gd name="connsiteX3-735" fmla="*/ 579722 w 2772041"/>
              <a:gd name="connsiteY3-736" fmla="*/ 3128747 h 3138969"/>
              <a:gd name="connsiteX4-737" fmla="*/ 0 w 2772041"/>
              <a:gd name="connsiteY4-738" fmla="*/ 2549025 h 3138969"/>
              <a:gd name="connsiteX5-739" fmla="*/ 0 w 2772041"/>
              <a:gd name="connsiteY5-740" fmla="*/ 1656 h 313896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endParaRPr lang="en-US"/>
          </a:p>
          <a:p>
            <a:endParaRPr lang="en-US"/>
          </a:p>
          <a:p>
            <a:endParaRPr lang="en-US"/>
          </a:p>
        </p:txBody>
      </p:sp>
      <p:sp>
        <p:nvSpPr>
          <p:cNvPr id="18"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1" name="Rectangle 20"/>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8"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9"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9" name="Text Placeholder 2"/>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20" name="Text Placeholder 6"/>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5" name="图片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US"/>
              <a:t>Insert Chart</a:t>
            </a:r>
            <a:endParaRPr lang="en-US"/>
          </a:p>
        </p:txBody>
      </p:sp>
      <p:sp>
        <p:nvSpPr>
          <p:cNvPr id="12"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0" name="Rectangle 19"/>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3"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4"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4" name="Text Placeholder 2"/>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5" name="Text Placeholder 6"/>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3" name="图片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US"/>
              <a:t>Insert Chart</a:t>
            </a:r>
            <a:endParaRPr lang="en-US"/>
          </a:p>
        </p:txBody>
      </p:sp>
      <p:sp>
        <p:nvSpPr>
          <p:cNvPr id="9" name="Text Placeholder 6"/>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0" name="Text Placeholder 6"/>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a:t>
            </a:r>
            <a:endParaRPr lang="en-US"/>
          </a:p>
        </p:txBody>
      </p:sp>
      <p:sp>
        <p:nvSpPr>
          <p:cNvPr id="13"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1" name="Rectangle 20"/>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4"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5"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7" name="Text Placeholder 2"/>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8" name="Text Placeholder 6"/>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4" name="图片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US"/>
              <a:t>Insert Chart</a:t>
            </a:r>
            <a:endParaRPr lang="en-US"/>
          </a:p>
        </p:txBody>
      </p:sp>
      <p:sp>
        <p:nvSpPr>
          <p:cNvPr id="9" name="Chart Placeholder 7"/>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US"/>
              <a:t>Insert Chart</a:t>
            </a:r>
            <a:endParaRPr lang="en-US"/>
          </a:p>
        </p:txBody>
      </p:sp>
      <p:sp>
        <p:nvSpPr>
          <p:cNvPr id="12"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17" name="Rectangle 16"/>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2"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3"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5" name="Text Placeholder 2"/>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8" name="Text Placeholder 6"/>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3" name="图片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US"/>
              <a:t>Insert Chart</a:t>
            </a:r>
            <a:endParaRPr lang="en-US"/>
          </a:p>
        </p:txBody>
      </p:sp>
      <p:sp>
        <p:nvSpPr>
          <p:cNvPr id="10" name="Chart Placeholder 7"/>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US"/>
              <a:t>Insert Chart</a:t>
            </a:r>
            <a:endParaRPr lang="en-US"/>
          </a:p>
        </p:txBody>
      </p:sp>
      <p:sp>
        <p:nvSpPr>
          <p:cNvPr id="11" name="Chart Placeholder 7"/>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US"/>
              <a:t>Insert Chart</a:t>
            </a:r>
            <a:endParaRPr lang="en-US"/>
          </a:p>
        </p:txBody>
      </p:sp>
      <p:sp>
        <p:nvSpPr>
          <p:cNvPr id="17"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2" name="Rectangle 21"/>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5"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6"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5" name="Text Placeholder 2"/>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8" name="Text Placeholder 6"/>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4" name="图片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r>
              <a:rPr lang="en-GB"/>
              <a:t>Click to add title</a:t>
            </a:r>
            <a:endParaRPr lang="en-GB"/>
          </a:p>
        </p:txBody>
      </p:sp>
      <p:sp>
        <p:nvSpPr>
          <p:cNvPr id="20" name="Picture Placeholder 3"/>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1" fmla="*/ 0 w 7309764"/>
              <a:gd name="connsiteY0-2" fmla="*/ 3052818 h 6105636"/>
              <a:gd name="connsiteX1-3" fmla="*/ 3052818 w 7309764"/>
              <a:gd name="connsiteY1-4" fmla="*/ 0 h 6105636"/>
              <a:gd name="connsiteX2-5" fmla="*/ 6592752 w 7309764"/>
              <a:gd name="connsiteY2-6" fmla="*/ 46298 h 6105636"/>
              <a:gd name="connsiteX3-7" fmla="*/ 6462532 w 7309764"/>
              <a:gd name="connsiteY3-8" fmla="*/ 3052818 h 6105636"/>
              <a:gd name="connsiteX4-9" fmla="*/ 6462532 w 7309764"/>
              <a:gd name="connsiteY4-10" fmla="*/ 3052818 h 6105636"/>
              <a:gd name="connsiteX5-11" fmla="*/ 3409714 w 7309764"/>
              <a:gd name="connsiteY5-12" fmla="*/ 6105636 h 6105636"/>
              <a:gd name="connsiteX6-13" fmla="*/ 3052818 w 7309764"/>
              <a:gd name="connsiteY6-14" fmla="*/ 6105636 h 6105636"/>
              <a:gd name="connsiteX7-15" fmla="*/ 0 w 7309764"/>
              <a:gd name="connsiteY7-16" fmla="*/ 3052818 h 6105636"/>
              <a:gd name="connsiteX0-17" fmla="*/ 0 w 7309764"/>
              <a:gd name="connsiteY0-18" fmla="*/ 3060215 h 6113033"/>
              <a:gd name="connsiteX1-19" fmla="*/ 3052818 w 7309764"/>
              <a:gd name="connsiteY1-20" fmla="*/ 7397 h 6113033"/>
              <a:gd name="connsiteX2-21" fmla="*/ 6592752 w 7309764"/>
              <a:gd name="connsiteY2-22" fmla="*/ 53695 h 6113033"/>
              <a:gd name="connsiteX3-23" fmla="*/ 6462532 w 7309764"/>
              <a:gd name="connsiteY3-24" fmla="*/ 3060215 h 6113033"/>
              <a:gd name="connsiteX4-25" fmla="*/ 6462532 w 7309764"/>
              <a:gd name="connsiteY4-26" fmla="*/ 3060215 h 6113033"/>
              <a:gd name="connsiteX5-27" fmla="*/ 3409714 w 7309764"/>
              <a:gd name="connsiteY5-28" fmla="*/ 6113033 h 6113033"/>
              <a:gd name="connsiteX6-29" fmla="*/ 3052818 w 7309764"/>
              <a:gd name="connsiteY6-30" fmla="*/ 6113033 h 6113033"/>
              <a:gd name="connsiteX7-31" fmla="*/ 0 w 7309764"/>
              <a:gd name="connsiteY7-32" fmla="*/ 3060215 h 6113033"/>
              <a:gd name="connsiteX0-33" fmla="*/ 0 w 7309764"/>
              <a:gd name="connsiteY0-34" fmla="*/ 3052818 h 6105636"/>
              <a:gd name="connsiteX1-35" fmla="*/ 3052818 w 7309764"/>
              <a:gd name="connsiteY1-36" fmla="*/ 0 h 6105636"/>
              <a:gd name="connsiteX2-37" fmla="*/ 6592752 w 7309764"/>
              <a:gd name="connsiteY2-38" fmla="*/ 46298 h 6105636"/>
              <a:gd name="connsiteX3-39" fmla="*/ 6462532 w 7309764"/>
              <a:gd name="connsiteY3-40" fmla="*/ 3052818 h 6105636"/>
              <a:gd name="connsiteX4-41" fmla="*/ 6462532 w 7309764"/>
              <a:gd name="connsiteY4-42" fmla="*/ 3052818 h 6105636"/>
              <a:gd name="connsiteX5-43" fmla="*/ 3409714 w 7309764"/>
              <a:gd name="connsiteY5-44" fmla="*/ 6105636 h 6105636"/>
              <a:gd name="connsiteX6-45" fmla="*/ 3052818 w 7309764"/>
              <a:gd name="connsiteY6-46" fmla="*/ 6105636 h 6105636"/>
              <a:gd name="connsiteX7-47" fmla="*/ 0 w 7309764"/>
              <a:gd name="connsiteY7-48" fmla="*/ 3052818 h 6105636"/>
              <a:gd name="connsiteX0-49" fmla="*/ 0 w 7162978"/>
              <a:gd name="connsiteY0-50" fmla="*/ 3052818 h 6105636"/>
              <a:gd name="connsiteX1-51" fmla="*/ 3052818 w 7162978"/>
              <a:gd name="connsiteY1-52" fmla="*/ 0 h 6105636"/>
              <a:gd name="connsiteX2-53" fmla="*/ 6395982 w 7162978"/>
              <a:gd name="connsiteY2-54" fmla="*/ 11574 h 6105636"/>
              <a:gd name="connsiteX3-55" fmla="*/ 6462532 w 7162978"/>
              <a:gd name="connsiteY3-56" fmla="*/ 3052818 h 6105636"/>
              <a:gd name="connsiteX4-57" fmla="*/ 6462532 w 7162978"/>
              <a:gd name="connsiteY4-58" fmla="*/ 3052818 h 6105636"/>
              <a:gd name="connsiteX5-59" fmla="*/ 3409714 w 7162978"/>
              <a:gd name="connsiteY5-60" fmla="*/ 6105636 h 6105636"/>
              <a:gd name="connsiteX6-61" fmla="*/ 3052818 w 7162978"/>
              <a:gd name="connsiteY6-62" fmla="*/ 6105636 h 6105636"/>
              <a:gd name="connsiteX7-63" fmla="*/ 0 w 7162978"/>
              <a:gd name="connsiteY7-64" fmla="*/ 3052818 h 6105636"/>
              <a:gd name="connsiteX0-65" fmla="*/ 0 w 7162978"/>
              <a:gd name="connsiteY0-66" fmla="*/ 3052818 h 6105636"/>
              <a:gd name="connsiteX1-67" fmla="*/ 3052818 w 7162978"/>
              <a:gd name="connsiteY1-68" fmla="*/ 0 h 6105636"/>
              <a:gd name="connsiteX2-69" fmla="*/ 6395982 w 7162978"/>
              <a:gd name="connsiteY2-70" fmla="*/ 11574 h 6105636"/>
              <a:gd name="connsiteX3-71" fmla="*/ 6462532 w 7162978"/>
              <a:gd name="connsiteY3-72" fmla="*/ 3052818 h 6105636"/>
              <a:gd name="connsiteX4-73" fmla="*/ 6462532 w 7162978"/>
              <a:gd name="connsiteY4-74" fmla="*/ 3052818 h 6105636"/>
              <a:gd name="connsiteX5-75" fmla="*/ 3409714 w 7162978"/>
              <a:gd name="connsiteY5-76" fmla="*/ 6105636 h 6105636"/>
              <a:gd name="connsiteX6-77" fmla="*/ 3052818 w 7162978"/>
              <a:gd name="connsiteY6-78" fmla="*/ 6105636 h 6105636"/>
              <a:gd name="connsiteX7-79" fmla="*/ 0 w 7162978"/>
              <a:gd name="connsiteY7-80" fmla="*/ 3052818 h 6105636"/>
              <a:gd name="connsiteX0-81" fmla="*/ 0 w 7162978"/>
              <a:gd name="connsiteY0-82" fmla="*/ 3052818 h 6105636"/>
              <a:gd name="connsiteX1-83" fmla="*/ 3052818 w 7162978"/>
              <a:gd name="connsiteY1-84" fmla="*/ 0 h 6105636"/>
              <a:gd name="connsiteX2-85" fmla="*/ 6395982 w 7162978"/>
              <a:gd name="connsiteY2-86" fmla="*/ 11574 h 6105636"/>
              <a:gd name="connsiteX3-87" fmla="*/ 6462532 w 7162978"/>
              <a:gd name="connsiteY3-88" fmla="*/ 3052818 h 6105636"/>
              <a:gd name="connsiteX4-89" fmla="*/ 6462532 w 7162978"/>
              <a:gd name="connsiteY4-90" fmla="*/ 3052818 h 6105636"/>
              <a:gd name="connsiteX5-91" fmla="*/ 3409714 w 7162978"/>
              <a:gd name="connsiteY5-92" fmla="*/ 6105636 h 6105636"/>
              <a:gd name="connsiteX6-93" fmla="*/ 3052818 w 7162978"/>
              <a:gd name="connsiteY6-94" fmla="*/ 6105636 h 6105636"/>
              <a:gd name="connsiteX7-95" fmla="*/ 0 w 7162978"/>
              <a:gd name="connsiteY7-96" fmla="*/ 3052818 h 6105636"/>
              <a:gd name="connsiteX0-97" fmla="*/ 0 w 7162978"/>
              <a:gd name="connsiteY0-98" fmla="*/ 3052818 h 6105636"/>
              <a:gd name="connsiteX1-99" fmla="*/ 3052818 w 7162978"/>
              <a:gd name="connsiteY1-100" fmla="*/ 0 h 6105636"/>
              <a:gd name="connsiteX2-101" fmla="*/ 6395982 w 7162978"/>
              <a:gd name="connsiteY2-102" fmla="*/ 11574 h 6105636"/>
              <a:gd name="connsiteX3-103" fmla="*/ 6462532 w 7162978"/>
              <a:gd name="connsiteY3-104" fmla="*/ 3052818 h 6105636"/>
              <a:gd name="connsiteX4-105" fmla="*/ 6462532 w 7162978"/>
              <a:gd name="connsiteY4-106" fmla="*/ 3052818 h 6105636"/>
              <a:gd name="connsiteX5-107" fmla="*/ 3409714 w 7162978"/>
              <a:gd name="connsiteY5-108" fmla="*/ 6105636 h 6105636"/>
              <a:gd name="connsiteX6-109" fmla="*/ 3052818 w 7162978"/>
              <a:gd name="connsiteY6-110" fmla="*/ 6105636 h 6105636"/>
              <a:gd name="connsiteX7-111" fmla="*/ 0 w 7162978"/>
              <a:gd name="connsiteY7-112" fmla="*/ 3052818 h 6105636"/>
              <a:gd name="connsiteX0-113" fmla="*/ 0 w 6750471"/>
              <a:gd name="connsiteY0-114" fmla="*/ 3052818 h 6105636"/>
              <a:gd name="connsiteX1-115" fmla="*/ 3052818 w 6750471"/>
              <a:gd name="connsiteY1-116" fmla="*/ 0 h 6105636"/>
              <a:gd name="connsiteX2-117" fmla="*/ 6395982 w 6750471"/>
              <a:gd name="connsiteY2-118" fmla="*/ 11574 h 6105636"/>
              <a:gd name="connsiteX3-119" fmla="*/ 6462532 w 6750471"/>
              <a:gd name="connsiteY3-120" fmla="*/ 3052818 h 6105636"/>
              <a:gd name="connsiteX4-121" fmla="*/ 6462532 w 6750471"/>
              <a:gd name="connsiteY4-122" fmla="*/ 3052818 h 6105636"/>
              <a:gd name="connsiteX5-123" fmla="*/ 3409714 w 6750471"/>
              <a:gd name="connsiteY5-124" fmla="*/ 6105636 h 6105636"/>
              <a:gd name="connsiteX6-125" fmla="*/ 3052818 w 6750471"/>
              <a:gd name="connsiteY6-126" fmla="*/ 6105636 h 6105636"/>
              <a:gd name="connsiteX7-127" fmla="*/ 0 w 6750471"/>
              <a:gd name="connsiteY7-128" fmla="*/ 3052818 h 6105636"/>
              <a:gd name="connsiteX0-129" fmla="*/ 0 w 6462532"/>
              <a:gd name="connsiteY0-130" fmla="*/ 3052818 h 6105636"/>
              <a:gd name="connsiteX1-131" fmla="*/ 3052818 w 6462532"/>
              <a:gd name="connsiteY1-132" fmla="*/ 0 h 6105636"/>
              <a:gd name="connsiteX2-133" fmla="*/ 6395982 w 6462532"/>
              <a:gd name="connsiteY2-134" fmla="*/ 11574 h 6105636"/>
              <a:gd name="connsiteX3-135" fmla="*/ 6462532 w 6462532"/>
              <a:gd name="connsiteY3-136" fmla="*/ 3052818 h 6105636"/>
              <a:gd name="connsiteX4-137" fmla="*/ 6462532 w 6462532"/>
              <a:gd name="connsiteY4-138" fmla="*/ 3052818 h 6105636"/>
              <a:gd name="connsiteX5-139" fmla="*/ 3409714 w 6462532"/>
              <a:gd name="connsiteY5-140" fmla="*/ 6105636 h 6105636"/>
              <a:gd name="connsiteX6-141" fmla="*/ 3052818 w 6462532"/>
              <a:gd name="connsiteY6-142" fmla="*/ 6105636 h 6105636"/>
              <a:gd name="connsiteX7-143" fmla="*/ 0 w 6462532"/>
              <a:gd name="connsiteY7-144" fmla="*/ 3052818 h 6105636"/>
              <a:gd name="connsiteX0-145" fmla="*/ 0 w 6477004"/>
              <a:gd name="connsiteY0-146" fmla="*/ 3052819 h 6105637"/>
              <a:gd name="connsiteX1-147" fmla="*/ 3052818 w 6477004"/>
              <a:gd name="connsiteY1-148" fmla="*/ 1 h 6105637"/>
              <a:gd name="connsiteX2-149" fmla="*/ 6477004 w 6477004"/>
              <a:gd name="connsiteY2-150" fmla="*/ 0 h 6105637"/>
              <a:gd name="connsiteX3-151" fmla="*/ 6462532 w 6477004"/>
              <a:gd name="connsiteY3-152" fmla="*/ 3052819 h 6105637"/>
              <a:gd name="connsiteX4-153" fmla="*/ 6462532 w 6477004"/>
              <a:gd name="connsiteY4-154" fmla="*/ 3052819 h 6105637"/>
              <a:gd name="connsiteX5-155" fmla="*/ 3409714 w 6477004"/>
              <a:gd name="connsiteY5-156" fmla="*/ 6105637 h 6105637"/>
              <a:gd name="connsiteX6-157" fmla="*/ 3052818 w 6477004"/>
              <a:gd name="connsiteY6-158" fmla="*/ 6105637 h 6105637"/>
              <a:gd name="connsiteX7-159" fmla="*/ 0 w 6477004"/>
              <a:gd name="connsiteY7-160" fmla="*/ 3052819 h 6105637"/>
              <a:gd name="connsiteX0-161" fmla="*/ 0 w 6477004"/>
              <a:gd name="connsiteY0-162" fmla="*/ 3052819 h 6105637"/>
              <a:gd name="connsiteX1-163" fmla="*/ 3052818 w 6477004"/>
              <a:gd name="connsiteY1-164" fmla="*/ 1 h 6105637"/>
              <a:gd name="connsiteX2-165" fmla="*/ 6477004 w 6477004"/>
              <a:gd name="connsiteY2-166" fmla="*/ 0 h 6105637"/>
              <a:gd name="connsiteX3-167" fmla="*/ 6462532 w 6477004"/>
              <a:gd name="connsiteY3-168" fmla="*/ 3052819 h 6105637"/>
              <a:gd name="connsiteX4-169" fmla="*/ 5756477 w 6477004"/>
              <a:gd name="connsiteY4-170" fmla="*/ 3018095 h 6105637"/>
              <a:gd name="connsiteX5-171" fmla="*/ 3409714 w 6477004"/>
              <a:gd name="connsiteY5-172" fmla="*/ 6105637 h 6105637"/>
              <a:gd name="connsiteX6-173" fmla="*/ 3052818 w 6477004"/>
              <a:gd name="connsiteY6-174" fmla="*/ 6105637 h 6105637"/>
              <a:gd name="connsiteX7-175" fmla="*/ 0 w 6477004"/>
              <a:gd name="connsiteY7-176" fmla="*/ 3052819 h 6105637"/>
              <a:gd name="connsiteX0-177" fmla="*/ 0 w 6477004"/>
              <a:gd name="connsiteY0-178" fmla="*/ 3052819 h 6105637"/>
              <a:gd name="connsiteX1-179" fmla="*/ 3052818 w 6477004"/>
              <a:gd name="connsiteY1-180" fmla="*/ 1 h 6105637"/>
              <a:gd name="connsiteX2-181" fmla="*/ 6477004 w 6477004"/>
              <a:gd name="connsiteY2-182" fmla="*/ 0 h 6105637"/>
              <a:gd name="connsiteX3-183" fmla="*/ 6462532 w 6477004"/>
              <a:gd name="connsiteY3-184" fmla="*/ 3052819 h 6105637"/>
              <a:gd name="connsiteX4-185" fmla="*/ 3409714 w 6477004"/>
              <a:gd name="connsiteY4-186" fmla="*/ 6105637 h 6105637"/>
              <a:gd name="connsiteX5-187" fmla="*/ 3052818 w 6477004"/>
              <a:gd name="connsiteY5-188" fmla="*/ 6105637 h 6105637"/>
              <a:gd name="connsiteX6-189" fmla="*/ 0 w 6477004"/>
              <a:gd name="connsiteY6-190" fmla="*/ 3052819 h 6105637"/>
              <a:gd name="connsiteX0-191" fmla="*/ 0 w 6477004"/>
              <a:gd name="connsiteY0-192" fmla="*/ 3052819 h 6108535"/>
              <a:gd name="connsiteX1-193" fmla="*/ 3052818 w 6477004"/>
              <a:gd name="connsiteY1-194" fmla="*/ 1 h 6108535"/>
              <a:gd name="connsiteX2-195" fmla="*/ 6477004 w 6477004"/>
              <a:gd name="connsiteY2-196" fmla="*/ 0 h 6108535"/>
              <a:gd name="connsiteX3-197" fmla="*/ 6462532 w 6477004"/>
              <a:gd name="connsiteY3-198" fmla="*/ 6108535 h 6108535"/>
              <a:gd name="connsiteX4-199" fmla="*/ 3409714 w 6477004"/>
              <a:gd name="connsiteY4-200" fmla="*/ 6105637 h 6108535"/>
              <a:gd name="connsiteX5-201" fmla="*/ 3052818 w 6477004"/>
              <a:gd name="connsiteY5-202" fmla="*/ 6105637 h 6108535"/>
              <a:gd name="connsiteX6-203" fmla="*/ 0 w 6477004"/>
              <a:gd name="connsiteY6-204" fmla="*/ 3052819 h 6108535"/>
              <a:gd name="connsiteX0-205" fmla="*/ 0 w 6477004"/>
              <a:gd name="connsiteY0-206" fmla="*/ 3052819 h 6108535"/>
              <a:gd name="connsiteX1-207" fmla="*/ 3052818 w 6477004"/>
              <a:gd name="connsiteY1-208" fmla="*/ 1 h 6108535"/>
              <a:gd name="connsiteX2-209" fmla="*/ 6477004 w 6477004"/>
              <a:gd name="connsiteY2-210" fmla="*/ 0 h 6108535"/>
              <a:gd name="connsiteX3-211" fmla="*/ 6323635 w 6477004"/>
              <a:gd name="connsiteY3-212" fmla="*/ 6108535 h 6108535"/>
              <a:gd name="connsiteX4-213" fmla="*/ 3409714 w 6477004"/>
              <a:gd name="connsiteY4-214" fmla="*/ 6105637 h 6108535"/>
              <a:gd name="connsiteX5-215" fmla="*/ 3052818 w 6477004"/>
              <a:gd name="connsiteY5-216" fmla="*/ 6105637 h 6108535"/>
              <a:gd name="connsiteX6-217" fmla="*/ 0 w 6477004"/>
              <a:gd name="connsiteY6-218" fmla="*/ 3052819 h 6108535"/>
              <a:gd name="connsiteX0-219" fmla="*/ 0 w 6326533"/>
              <a:gd name="connsiteY0-220" fmla="*/ 3052819 h 6108535"/>
              <a:gd name="connsiteX1-221" fmla="*/ 3052818 w 6326533"/>
              <a:gd name="connsiteY1-222" fmla="*/ 1 h 6108535"/>
              <a:gd name="connsiteX2-223" fmla="*/ 6326533 w 6326533"/>
              <a:gd name="connsiteY2-224" fmla="*/ 0 h 6108535"/>
              <a:gd name="connsiteX3-225" fmla="*/ 6323635 w 6326533"/>
              <a:gd name="connsiteY3-226" fmla="*/ 6108535 h 6108535"/>
              <a:gd name="connsiteX4-227" fmla="*/ 3409714 w 6326533"/>
              <a:gd name="connsiteY4-228" fmla="*/ 6105637 h 6108535"/>
              <a:gd name="connsiteX5-229" fmla="*/ 3052818 w 6326533"/>
              <a:gd name="connsiteY5-230" fmla="*/ 6105637 h 6108535"/>
              <a:gd name="connsiteX6-231" fmla="*/ 0 w 6326533"/>
              <a:gd name="connsiteY6-232" fmla="*/ 3052819 h 610853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zh-CN" altLang="en-US"/>
              <a:t>单击图标添加图片</a:t>
            </a:r>
            <a:endParaRPr lang="en-US"/>
          </a:p>
        </p:txBody>
      </p:sp>
      <p:sp>
        <p:nvSpPr>
          <p:cNvPr id="28" name="Rectangle 27"/>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Title of Position</a:t>
            </a:r>
            <a:endParaRPr lang="en-US"/>
          </a:p>
        </p:txBody>
      </p:sp>
      <p:sp>
        <p:nvSpPr>
          <p:cNvPr id="30" name="Text Placeholder 2"/>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epartment</a:t>
            </a:r>
            <a:endParaRPr lang="en-US"/>
          </a:p>
        </p:txBody>
      </p:sp>
      <p:sp>
        <p:nvSpPr>
          <p:cNvPr id="31" name="Text Placeholder 2"/>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ate</a:t>
            </a:r>
            <a:endParaRPr lang="en-US"/>
          </a:p>
        </p:txBody>
      </p:sp>
      <p:sp>
        <p:nvSpPr>
          <p:cNvPr id="32" name="Text Placeholder 2"/>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Presenter Name</a:t>
            </a:r>
            <a:endParaRPr lang="en-US"/>
          </a:p>
        </p:txBody>
      </p:sp>
      <p:pic>
        <p:nvPicPr>
          <p:cNvPr id="11" name="图片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8358" y="373285"/>
            <a:ext cx="1392001" cy="531455"/>
          </a:xfrm>
          <a:prstGeom prst="rect">
            <a:avLst/>
          </a:prstGeom>
        </p:spPr>
      </p:pic>
    </p:spTree>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r>
              <a:rPr lang="en-GB"/>
              <a:t>Click to add title</a:t>
            </a:r>
            <a:endParaRPr lang="en-GB"/>
          </a:p>
        </p:txBody>
      </p:sp>
      <p:sp>
        <p:nvSpPr>
          <p:cNvPr id="28" name="Rectangle 27"/>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Title of Position</a:t>
            </a:r>
            <a:endParaRPr lang="en-US"/>
          </a:p>
        </p:txBody>
      </p:sp>
      <p:sp>
        <p:nvSpPr>
          <p:cNvPr id="30" name="Text Placeholder 2"/>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epartment</a:t>
            </a:r>
            <a:endParaRPr lang="en-US"/>
          </a:p>
        </p:txBody>
      </p:sp>
      <p:sp>
        <p:nvSpPr>
          <p:cNvPr id="31" name="Text Placeholder 2"/>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ate</a:t>
            </a:r>
            <a:endParaRPr lang="en-US"/>
          </a:p>
        </p:txBody>
      </p:sp>
      <p:sp>
        <p:nvSpPr>
          <p:cNvPr id="32" name="Text Placeholder 2"/>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Presenter Name</a:t>
            </a:r>
            <a:endParaRPr lang="en-US"/>
          </a:p>
        </p:txBody>
      </p:sp>
      <p:sp>
        <p:nvSpPr>
          <p:cNvPr id="14" name="Text Placeholder 2"/>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sz="800"/>
            </a:lvl1pPr>
            <a:lvl2pPr>
              <a:defRPr sz="800"/>
            </a:lvl2pPr>
            <a:lvl3pPr>
              <a:defRPr sz="800"/>
            </a:lvl3pPr>
            <a:lvl4pPr>
              <a:defRPr sz="800"/>
            </a:lvl4pPr>
            <a:lvl5pPr>
              <a:defRPr sz="800"/>
            </a:lvl5pPr>
          </a:lstStyle>
          <a:p>
            <a:pPr marL="0" marR="0" lvl="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a:pPr>
            <a:r>
              <a:rPr lang="en-US"/>
              <a:t>Private and confidential. For internal use only.</a:t>
            </a:r>
            <a:endParaRPr lang="en-US"/>
          </a:p>
        </p:txBody>
      </p:sp>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64058" y="382594"/>
            <a:ext cx="1392001" cy="531455"/>
          </a:xfrm>
          <a:prstGeom prst="rect">
            <a:avLst/>
          </a:prstGeom>
        </p:spPr>
      </p:pic>
    </p:spTree>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a one-column layout. Click to add content</a:t>
            </a:r>
            <a:endParaRPr lang="en-US"/>
          </a:p>
        </p:txBody>
      </p:sp>
      <p:sp>
        <p:nvSpPr>
          <p:cNvPr id="19" name="Footer Placeholder 8"/>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zh-CN" altLang="en-US"/>
              <a:t>康瑞胶</a:t>
            </a:r>
            <a:endParaRPr lang="en-US"/>
          </a:p>
        </p:txBody>
      </p:sp>
      <p:sp>
        <p:nvSpPr>
          <p:cNvPr id="22"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1" name="Rectangle 20"/>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4"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a two-column layout. Click to add content. </a:t>
            </a:r>
            <a:endParaRPr lang="en-US"/>
          </a:p>
        </p:txBody>
      </p:sp>
      <p:sp>
        <p:nvSpPr>
          <p:cNvPr id="19" name="Footer Placeholder 8"/>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zh-CN" altLang="en-US"/>
              <a:t>康瑞胶</a:t>
            </a:r>
            <a:endParaRPr lang="en-US"/>
          </a:p>
        </p:txBody>
      </p:sp>
      <p:sp>
        <p:nvSpPr>
          <p:cNvPr id="22"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0"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1"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r>
              <a:rPr lang="en-GB"/>
              <a:t>Click to add section title</a:t>
            </a:r>
            <a:endParaRPr lang="en-GB"/>
          </a:p>
        </p:txBody>
      </p:sp>
      <p:sp>
        <p:nvSpPr>
          <p:cNvPr id="28" name="Rectangle 27"/>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64472"/>
              <a:gd name="connsiteY0-334" fmla="*/ 0 h 6630428"/>
              <a:gd name="connsiteX1-335" fmla="*/ 11864472 w 11864472"/>
              <a:gd name="connsiteY1-336" fmla="*/ 188353 h 6630428"/>
              <a:gd name="connsiteX2-337" fmla="*/ 11855613 w 11864472"/>
              <a:gd name="connsiteY2-338" fmla="*/ 6628774 h 6630428"/>
              <a:gd name="connsiteX3-339" fmla="*/ 579722 w 11864472"/>
              <a:gd name="connsiteY3-340" fmla="*/ 6630428 h 6630428"/>
              <a:gd name="connsiteX4-341" fmla="*/ 0 w 11864472"/>
              <a:gd name="connsiteY4-342" fmla="*/ 6050706 h 6630428"/>
              <a:gd name="connsiteX5-343" fmla="*/ 0 w 11864472"/>
              <a:gd name="connsiteY5-344" fmla="*/ 0 h 6630428"/>
              <a:gd name="connsiteX0-345" fmla="*/ 0 w 11864472"/>
              <a:gd name="connsiteY0-346" fmla="*/ 13527 h 6643955"/>
              <a:gd name="connsiteX1-347" fmla="*/ 11864472 w 11864472"/>
              <a:gd name="connsiteY1-348" fmla="*/ 0 h 6643955"/>
              <a:gd name="connsiteX2-349" fmla="*/ 11855613 w 11864472"/>
              <a:gd name="connsiteY2-350" fmla="*/ 6642301 h 6643955"/>
              <a:gd name="connsiteX3-351" fmla="*/ 579722 w 11864472"/>
              <a:gd name="connsiteY3-352" fmla="*/ 6643955 h 6643955"/>
              <a:gd name="connsiteX4-353" fmla="*/ 0 w 11864472"/>
              <a:gd name="connsiteY4-354" fmla="*/ 6064233 h 6643955"/>
              <a:gd name="connsiteX5-355" fmla="*/ 0 w 11864472"/>
              <a:gd name="connsiteY5-356" fmla="*/ 13527 h 6643955"/>
              <a:gd name="connsiteX0-357" fmla="*/ 0 w 11864472"/>
              <a:gd name="connsiteY0-358" fmla="*/ 1319813 h 6643955"/>
              <a:gd name="connsiteX1-359" fmla="*/ 11864472 w 11864472"/>
              <a:gd name="connsiteY1-360" fmla="*/ 0 h 6643955"/>
              <a:gd name="connsiteX2-361" fmla="*/ 11855613 w 11864472"/>
              <a:gd name="connsiteY2-362" fmla="*/ 6642301 h 6643955"/>
              <a:gd name="connsiteX3-363" fmla="*/ 579722 w 11864472"/>
              <a:gd name="connsiteY3-364" fmla="*/ 6643955 h 6643955"/>
              <a:gd name="connsiteX4-365" fmla="*/ 0 w 11864472"/>
              <a:gd name="connsiteY4-366" fmla="*/ 6064233 h 6643955"/>
              <a:gd name="connsiteX5-367" fmla="*/ 0 w 11864472"/>
              <a:gd name="connsiteY5-368" fmla="*/ 1319813 h 6643955"/>
              <a:gd name="connsiteX0-369" fmla="*/ 0 w 11864472"/>
              <a:gd name="connsiteY0-370" fmla="*/ 13527 h 5337669"/>
              <a:gd name="connsiteX1-371" fmla="*/ 11864472 w 11864472"/>
              <a:gd name="connsiteY1-372" fmla="*/ 0 h 5337669"/>
              <a:gd name="connsiteX2-373" fmla="*/ 11855613 w 11864472"/>
              <a:gd name="connsiteY2-374" fmla="*/ 5336015 h 5337669"/>
              <a:gd name="connsiteX3-375" fmla="*/ 579722 w 11864472"/>
              <a:gd name="connsiteY3-376" fmla="*/ 5337669 h 5337669"/>
              <a:gd name="connsiteX4-377" fmla="*/ 0 w 11864472"/>
              <a:gd name="connsiteY4-378" fmla="*/ 4757947 h 5337669"/>
              <a:gd name="connsiteX5-379" fmla="*/ 0 w 11864472"/>
              <a:gd name="connsiteY5-380" fmla="*/ 13527 h 5337669"/>
              <a:gd name="connsiteX0-381" fmla="*/ 0 w 11864472"/>
              <a:gd name="connsiteY0-382" fmla="*/ 1652 h 5337669"/>
              <a:gd name="connsiteX1-383" fmla="*/ 11864472 w 11864472"/>
              <a:gd name="connsiteY1-384" fmla="*/ 0 h 5337669"/>
              <a:gd name="connsiteX2-385" fmla="*/ 11855613 w 11864472"/>
              <a:gd name="connsiteY2-386" fmla="*/ 5336015 h 5337669"/>
              <a:gd name="connsiteX3-387" fmla="*/ 579722 w 11864472"/>
              <a:gd name="connsiteY3-388" fmla="*/ 5337669 h 5337669"/>
              <a:gd name="connsiteX4-389" fmla="*/ 0 w 11864472"/>
              <a:gd name="connsiteY4-390" fmla="*/ 4757947 h 5337669"/>
              <a:gd name="connsiteX5-391" fmla="*/ 0 w 11864472"/>
              <a:gd name="connsiteY5-392" fmla="*/ 1652 h 5337669"/>
              <a:gd name="connsiteX0-393" fmla="*/ 0 w 11864472"/>
              <a:gd name="connsiteY0-394" fmla="*/ 2201927 h 5337669"/>
              <a:gd name="connsiteX1-395" fmla="*/ 11864472 w 11864472"/>
              <a:gd name="connsiteY1-396" fmla="*/ 0 h 5337669"/>
              <a:gd name="connsiteX2-397" fmla="*/ 11855613 w 11864472"/>
              <a:gd name="connsiteY2-398" fmla="*/ 5336015 h 5337669"/>
              <a:gd name="connsiteX3-399" fmla="*/ 579722 w 11864472"/>
              <a:gd name="connsiteY3-400" fmla="*/ 5337669 h 5337669"/>
              <a:gd name="connsiteX4-401" fmla="*/ 0 w 11864472"/>
              <a:gd name="connsiteY4-402" fmla="*/ 4757947 h 5337669"/>
              <a:gd name="connsiteX5-403" fmla="*/ 0 w 11864472"/>
              <a:gd name="connsiteY5-404" fmla="*/ 2201927 h 5337669"/>
              <a:gd name="connsiteX0-405" fmla="*/ 0 w 11864472"/>
              <a:gd name="connsiteY0-406" fmla="*/ 1652 h 3137394"/>
              <a:gd name="connsiteX1-407" fmla="*/ 11864472 w 11864472"/>
              <a:gd name="connsiteY1-408" fmla="*/ 0 h 3137394"/>
              <a:gd name="connsiteX2-409" fmla="*/ 11855613 w 11864472"/>
              <a:gd name="connsiteY2-410" fmla="*/ 3135740 h 3137394"/>
              <a:gd name="connsiteX3-411" fmla="*/ 579722 w 11864472"/>
              <a:gd name="connsiteY3-412" fmla="*/ 3137394 h 3137394"/>
              <a:gd name="connsiteX4-413" fmla="*/ 0 w 11864472"/>
              <a:gd name="connsiteY4-414" fmla="*/ 2557672 h 3137394"/>
              <a:gd name="connsiteX5-415" fmla="*/ 0 w 11864472"/>
              <a:gd name="connsiteY5-416" fmla="*/ 1652 h 3137394"/>
              <a:gd name="connsiteX0-417" fmla="*/ 0 w 11864472"/>
              <a:gd name="connsiteY0-418" fmla="*/ 0 h 3420555"/>
              <a:gd name="connsiteX1-419" fmla="*/ 11864472 w 11864472"/>
              <a:gd name="connsiteY1-420" fmla="*/ 283161 h 3420555"/>
              <a:gd name="connsiteX2-421" fmla="*/ 11855613 w 11864472"/>
              <a:gd name="connsiteY2-422" fmla="*/ 3418901 h 3420555"/>
              <a:gd name="connsiteX3-423" fmla="*/ 579722 w 11864472"/>
              <a:gd name="connsiteY3-424" fmla="*/ 3420555 h 3420555"/>
              <a:gd name="connsiteX4-425" fmla="*/ 0 w 11864472"/>
              <a:gd name="connsiteY4-426" fmla="*/ 2840833 h 3420555"/>
              <a:gd name="connsiteX5-427" fmla="*/ 0 w 11864472"/>
              <a:gd name="connsiteY5-428" fmla="*/ 0 h 3420555"/>
              <a:gd name="connsiteX0-429" fmla="*/ 0 w 11864472"/>
              <a:gd name="connsiteY0-430" fmla="*/ 1652 h 3422207"/>
              <a:gd name="connsiteX1-431" fmla="*/ 11864472 w 11864472"/>
              <a:gd name="connsiteY1-432" fmla="*/ 0 h 3422207"/>
              <a:gd name="connsiteX2-433" fmla="*/ 11855613 w 11864472"/>
              <a:gd name="connsiteY2-434" fmla="*/ 3420553 h 3422207"/>
              <a:gd name="connsiteX3-435" fmla="*/ 579722 w 11864472"/>
              <a:gd name="connsiteY3-436" fmla="*/ 3422207 h 3422207"/>
              <a:gd name="connsiteX4-437" fmla="*/ 0 w 11864472"/>
              <a:gd name="connsiteY4-438" fmla="*/ 2842485 h 3422207"/>
              <a:gd name="connsiteX5-439" fmla="*/ 0 w 11864472"/>
              <a:gd name="connsiteY5-440" fmla="*/ 1652 h 3422207"/>
              <a:gd name="connsiteX0-441" fmla="*/ 0 w 11855613"/>
              <a:gd name="connsiteY0-442" fmla="*/ 0 h 3420555"/>
              <a:gd name="connsiteX1-443" fmla="*/ 11834492 w 11855613"/>
              <a:gd name="connsiteY1-444" fmla="*/ 58309 h 3420555"/>
              <a:gd name="connsiteX2-445" fmla="*/ 11855613 w 11855613"/>
              <a:gd name="connsiteY2-446" fmla="*/ 3418901 h 3420555"/>
              <a:gd name="connsiteX3-447" fmla="*/ 579722 w 11855613"/>
              <a:gd name="connsiteY3-448" fmla="*/ 3420555 h 3420555"/>
              <a:gd name="connsiteX4-449" fmla="*/ 0 w 11855613"/>
              <a:gd name="connsiteY4-450" fmla="*/ 2840833 h 3420555"/>
              <a:gd name="connsiteX5-451" fmla="*/ 0 w 11855613"/>
              <a:gd name="connsiteY5-452" fmla="*/ 0 h 3420555"/>
              <a:gd name="connsiteX0-453" fmla="*/ 0 w 11855613"/>
              <a:gd name="connsiteY0-454" fmla="*/ 1652 h 3362246"/>
              <a:gd name="connsiteX1-455" fmla="*/ 11834492 w 11855613"/>
              <a:gd name="connsiteY1-456" fmla="*/ 0 h 3362246"/>
              <a:gd name="connsiteX2-457" fmla="*/ 11855613 w 11855613"/>
              <a:gd name="connsiteY2-458" fmla="*/ 3360592 h 3362246"/>
              <a:gd name="connsiteX3-459" fmla="*/ 579722 w 11855613"/>
              <a:gd name="connsiteY3-460" fmla="*/ 3362246 h 3362246"/>
              <a:gd name="connsiteX4-461" fmla="*/ 0 w 11855613"/>
              <a:gd name="connsiteY4-462" fmla="*/ 2782524 h 3362246"/>
              <a:gd name="connsiteX5-463" fmla="*/ 0 w 11855613"/>
              <a:gd name="connsiteY5-464" fmla="*/ 1652 h 3362246"/>
              <a:gd name="connsiteX0-465" fmla="*/ 0 w 11864473"/>
              <a:gd name="connsiteY0-466" fmla="*/ 0 h 3360594"/>
              <a:gd name="connsiteX1-467" fmla="*/ 11864473 w 11864473"/>
              <a:gd name="connsiteY1-468" fmla="*/ 13338 h 3360594"/>
              <a:gd name="connsiteX2-469" fmla="*/ 11855613 w 11864473"/>
              <a:gd name="connsiteY2-470" fmla="*/ 3358940 h 3360594"/>
              <a:gd name="connsiteX3-471" fmla="*/ 579722 w 11864473"/>
              <a:gd name="connsiteY3-472" fmla="*/ 3360594 h 3360594"/>
              <a:gd name="connsiteX4-473" fmla="*/ 0 w 11864473"/>
              <a:gd name="connsiteY4-474" fmla="*/ 2780872 h 3360594"/>
              <a:gd name="connsiteX5-475" fmla="*/ 0 w 11864473"/>
              <a:gd name="connsiteY5-476" fmla="*/ 0 h 3360594"/>
              <a:gd name="connsiteX0-477" fmla="*/ 0 w 11864473"/>
              <a:gd name="connsiteY0-478" fmla="*/ 1652 h 3362246"/>
              <a:gd name="connsiteX1-479" fmla="*/ 11864473 w 11864473"/>
              <a:gd name="connsiteY1-480" fmla="*/ 0 h 3362246"/>
              <a:gd name="connsiteX2-481" fmla="*/ 11855613 w 11864473"/>
              <a:gd name="connsiteY2-482" fmla="*/ 3360592 h 3362246"/>
              <a:gd name="connsiteX3-483" fmla="*/ 579722 w 11864473"/>
              <a:gd name="connsiteY3-484" fmla="*/ 3362246 h 3362246"/>
              <a:gd name="connsiteX4-485" fmla="*/ 0 w 11864473"/>
              <a:gd name="connsiteY4-486" fmla="*/ 2782524 h 3362246"/>
              <a:gd name="connsiteX5-487" fmla="*/ 0 w 11864473"/>
              <a:gd name="connsiteY5-488" fmla="*/ 1652 h 3362246"/>
              <a:gd name="connsiteX0-489" fmla="*/ 0 w 11855629"/>
              <a:gd name="connsiteY0-490" fmla="*/ 1652 h 3362246"/>
              <a:gd name="connsiteX1-491" fmla="*/ 11459359 w 11855629"/>
              <a:gd name="connsiteY1-492" fmla="*/ 0 h 3362246"/>
              <a:gd name="connsiteX2-493" fmla="*/ 11855613 w 11855629"/>
              <a:gd name="connsiteY2-494" fmla="*/ 3360592 h 3362246"/>
              <a:gd name="connsiteX3-495" fmla="*/ 579722 w 11855629"/>
              <a:gd name="connsiteY3-496" fmla="*/ 3362246 h 3362246"/>
              <a:gd name="connsiteX4-497" fmla="*/ 0 w 11855629"/>
              <a:gd name="connsiteY4-498" fmla="*/ 2782524 h 3362246"/>
              <a:gd name="connsiteX5-499" fmla="*/ 0 w 11855629"/>
              <a:gd name="connsiteY5-500" fmla="*/ 1652 h 3362246"/>
              <a:gd name="connsiteX0-501" fmla="*/ 0 w 11459359"/>
              <a:gd name="connsiteY0-502" fmla="*/ 1652 h 3362246"/>
              <a:gd name="connsiteX1-503" fmla="*/ 11459359 w 11459359"/>
              <a:gd name="connsiteY1-504" fmla="*/ 0 h 3362246"/>
              <a:gd name="connsiteX2-505" fmla="*/ 11438924 w 11459359"/>
              <a:gd name="connsiteY2-506" fmla="*/ 3360592 h 3362246"/>
              <a:gd name="connsiteX3-507" fmla="*/ 579722 w 11459359"/>
              <a:gd name="connsiteY3-508" fmla="*/ 3362246 h 3362246"/>
              <a:gd name="connsiteX4-509" fmla="*/ 0 w 11459359"/>
              <a:gd name="connsiteY4-510" fmla="*/ 2782524 h 3362246"/>
              <a:gd name="connsiteX5-511" fmla="*/ 0 w 11459359"/>
              <a:gd name="connsiteY5-512" fmla="*/ 1652 h 3362246"/>
              <a:gd name="connsiteX0-513" fmla="*/ 0 w 11459359"/>
              <a:gd name="connsiteY0-514" fmla="*/ 1652 h 3362246"/>
              <a:gd name="connsiteX1-515" fmla="*/ 11459359 w 11459359"/>
              <a:gd name="connsiteY1-516" fmla="*/ 0 h 3362246"/>
              <a:gd name="connsiteX2-517" fmla="*/ 11438924 w 11459359"/>
              <a:gd name="connsiteY2-518" fmla="*/ 3360592 h 3362246"/>
              <a:gd name="connsiteX3-519" fmla="*/ 1584742 w 11459359"/>
              <a:gd name="connsiteY3-520" fmla="*/ 3362246 h 3362246"/>
              <a:gd name="connsiteX4-521" fmla="*/ 0 w 11459359"/>
              <a:gd name="connsiteY4-522" fmla="*/ 2782524 h 3362246"/>
              <a:gd name="connsiteX5-523" fmla="*/ 0 w 11459359"/>
              <a:gd name="connsiteY5-524" fmla="*/ 1652 h 3362246"/>
              <a:gd name="connsiteX0-525" fmla="*/ 0 w 11459359"/>
              <a:gd name="connsiteY0-526" fmla="*/ 1652 h 3360592"/>
              <a:gd name="connsiteX1-527" fmla="*/ 11459359 w 11459359"/>
              <a:gd name="connsiteY1-528" fmla="*/ 0 h 3360592"/>
              <a:gd name="connsiteX2-529" fmla="*/ 11438924 w 11459359"/>
              <a:gd name="connsiteY2-530" fmla="*/ 3360592 h 3360592"/>
              <a:gd name="connsiteX3-531" fmla="*/ 1188396 w 11459359"/>
              <a:gd name="connsiteY3-532" fmla="*/ 3358591 h 3360592"/>
              <a:gd name="connsiteX4-533" fmla="*/ 0 w 11459359"/>
              <a:gd name="connsiteY4-534" fmla="*/ 2782524 h 3360592"/>
              <a:gd name="connsiteX5-535" fmla="*/ 0 w 11459359"/>
              <a:gd name="connsiteY5-536" fmla="*/ 1652 h 3360592"/>
              <a:gd name="connsiteX0-537" fmla="*/ 0 w 11459359"/>
              <a:gd name="connsiteY0-538" fmla="*/ 1652 h 3360592"/>
              <a:gd name="connsiteX1-539" fmla="*/ 11459359 w 11459359"/>
              <a:gd name="connsiteY1-540" fmla="*/ 0 h 3360592"/>
              <a:gd name="connsiteX2-541" fmla="*/ 11438924 w 11459359"/>
              <a:gd name="connsiteY2-542" fmla="*/ 3360592 h 3360592"/>
              <a:gd name="connsiteX3-543" fmla="*/ 1188396 w 11459359"/>
              <a:gd name="connsiteY3-544" fmla="*/ 3358591 h 3360592"/>
              <a:gd name="connsiteX4-545" fmla="*/ 0 w 11459359"/>
              <a:gd name="connsiteY4-546" fmla="*/ 2946995 h 3360592"/>
              <a:gd name="connsiteX5-547" fmla="*/ 0 w 11459359"/>
              <a:gd name="connsiteY5-548" fmla="*/ 1652 h 3360592"/>
              <a:gd name="connsiteX0-549" fmla="*/ 0 w 11459359"/>
              <a:gd name="connsiteY0-550" fmla="*/ 1652 h 3360592"/>
              <a:gd name="connsiteX1-551" fmla="*/ 11459359 w 11459359"/>
              <a:gd name="connsiteY1-552" fmla="*/ 0 h 3360592"/>
              <a:gd name="connsiteX2-553" fmla="*/ 11438924 w 11459359"/>
              <a:gd name="connsiteY2-554" fmla="*/ 3360592 h 3360592"/>
              <a:gd name="connsiteX3-555" fmla="*/ 1188396 w 11459359"/>
              <a:gd name="connsiteY3-556" fmla="*/ 3358591 h 3360592"/>
              <a:gd name="connsiteX4-557" fmla="*/ 0 w 11459359"/>
              <a:gd name="connsiteY4-558" fmla="*/ 2946995 h 3360592"/>
              <a:gd name="connsiteX5-559" fmla="*/ 0 w 11459359"/>
              <a:gd name="connsiteY5-560" fmla="*/ 1652 h 3360592"/>
              <a:gd name="connsiteX0-561" fmla="*/ 0 w 11459359"/>
              <a:gd name="connsiteY0-562" fmla="*/ 1652 h 3360592"/>
              <a:gd name="connsiteX1-563" fmla="*/ 11459359 w 11459359"/>
              <a:gd name="connsiteY1-564" fmla="*/ 0 h 3360592"/>
              <a:gd name="connsiteX2-565" fmla="*/ 11438924 w 11459359"/>
              <a:gd name="connsiteY2-566" fmla="*/ 3360592 h 3360592"/>
              <a:gd name="connsiteX3-567" fmla="*/ 1188396 w 11459359"/>
              <a:gd name="connsiteY3-568" fmla="*/ 3358591 h 3360592"/>
              <a:gd name="connsiteX4-569" fmla="*/ 0 w 11459359"/>
              <a:gd name="connsiteY4-570" fmla="*/ 2946995 h 3360592"/>
              <a:gd name="connsiteX5-571" fmla="*/ 0 w 11459359"/>
              <a:gd name="connsiteY5-572" fmla="*/ 1652 h 336059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zh-CN" altLang="en-US"/>
              <a:t>单击图标添加图片</a:t>
            </a:r>
            <a:endParaRPr lang="en-US"/>
          </a:p>
        </p:txBody>
      </p:sp>
    </p:spTree>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US"/>
          </a:p>
        </p:txBody>
      </p:sp>
    </p:spTree>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2" name="Text Placeholder 6"/>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17" name="Text Placeholder 6"/>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18" name="Text Placeholder 6"/>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21"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4"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7"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8"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22" name="Text Placeholder 2"/>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25" name="Text Placeholder 6"/>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5" name="图片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33463"/>
              <a:gd name="connsiteX1-419" fmla="*/ 8912928 w 8915642"/>
              <a:gd name="connsiteY1-420" fmla="*/ 191388 h 6633463"/>
              <a:gd name="connsiteX2-421" fmla="*/ 8915642 w 8915642"/>
              <a:gd name="connsiteY2-422" fmla="*/ 6631809 h 6633463"/>
              <a:gd name="connsiteX3-423" fmla="*/ 579722 w 8915642"/>
              <a:gd name="connsiteY3-424" fmla="*/ 6633463 h 6633463"/>
              <a:gd name="connsiteX4-425" fmla="*/ 0 w 8915642"/>
              <a:gd name="connsiteY4-426" fmla="*/ 6053741 h 6633463"/>
              <a:gd name="connsiteX5-427" fmla="*/ 0 w 8915642"/>
              <a:gd name="connsiteY5-428" fmla="*/ 1 h 6633463"/>
              <a:gd name="connsiteX0-429" fmla="*/ 0 w 8933278"/>
              <a:gd name="connsiteY0-430" fmla="*/ 1653 h 6635115"/>
              <a:gd name="connsiteX1-431" fmla="*/ 8933248 w 8933278"/>
              <a:gd name="connsiteY1-432" fmla="*/ 0 h 6635115"/>
              <a:gd name="connsiteX2-433" fmla="*/ 8915642 w 8933278"/>
              <a:gd name="connsiteY2-434" fmla="*/ 6633461 h 6635115"/>
              <a:gd name="connsiteX3-435" fmla="*/ 579722 w 8933278"/>
              <a:gd name="connsiteY3-436" fmla="*/ 6635115 h 6635115"/>
              <a:gd name="connsiteX4-437" fmla="*/ 0 w 8933278"/>
              <a:gd name="connsiteY4-438" fmla="*/ 6055393 h 6635115"/>
              <a:gd name="connsiteX5-439" fmla="*/ 0 w 8933278"/>
              <a:gd name="connsiteY5-440" fmla="*/ 1653 h 6635115"/>
              <a:gd name="connsiteX0-441" fmla="*/ 0 w 8933323"/>
              <a:gd name="connsiteY0-442" fmla="*/ 1653 h 6645336"/>
              <a:gd name="connsiteX1-443" fmla="*/ 8933248 w 8933323"/>
              <a:gd name="connsiteY1-444" fmla="*/ 0 h 6645336"/>
              <a:gd name="connsiteX2-445" fmla="*/ 8927517 w 8933323"/>
              <a:gd name="connsiteY2-446" fmla="*/ 6645336 h 6645336"/>
              <a:gd name="connsiteX3-447" fmla="*/ 579722 w 8933323"/>
              <a:gd name="connsiteY3-448" fmla="*/ 6635115 h 6645336"/>
              <a:gd name="connsiteX4-449" fmla="*/ 0 w 8933323"/>
              <a:gd name="connsiteY4-450" fmla="*/ 6055393 h 6645336"/>
              <a:gd name="connsiteX5-451" fmla="*/ 0 w 8933323"/>
              <a:gd name="connsiteY5-452" fmla="*/ 1653 h 6645336"/>
              <a:gd name="connsiteX0-453" fmla="*/ 0 w 8927517"/>
              <a:gd name="connsiteY0-454" fmla="*/ 1653 h 6645336"/>
              <a:gd name="connsiteX1-455" fmla="*/ 7971347 w 8927517"/>
              <a:gd name="connsiteY1-456" fmla="*/ 0 h 6645336"/>
              <a:gd name="connsiteX2-457" fmla="*/ 8927517 w 8927517"/>
              <a:gd name="connsiteY2-458" fmla="*/ 6645336 h 6645336"/>
              <a:gd name="connsiteX3-459" fmla="*/ 579722 w 8927517"/>
              <a:gd name="connsiteY3-460" fmla="*/ 6635115 h 6645336"/>
              <a:gd name="connsiteX4-461" fmla="*/ 0 w 8927517"/>
              <a:gd name="connsiteY4-462" fmla="*/ 6055393 h 6645336"/>
              <a:gd name="connsiteX5-463" fmla="*/ 0 w 8927517"/>
              <a:gd name="connsiteY5-464" fmla="*/ 1653 h 6645336"/>
              <a:gd name="connsiteX0-465" fmla="*/ 0 w 7971422"/>
              <a:gd name="connsiteY0-466" fmla="*/ 1653 h 6645336"/>
              <a:gd name="connsiteX1-467" fmla="*/ 7971347 w 7971422"/>
              <a:gd name="connsiteY1-468" fmla="*/ 0 h 6645336"/>
              <a:gd name="connsiteX2-469" fmla="*/ 7965616 w 7971422"/>
              <a:gd name="connsiteY2-470" fmla="*/ 6645336 h 6645336"/>
              <a:gd name="connsiteX3-471" fmla="*/ 579722 w 7971422"/>
              <a:gd name="connsiteY3-472" fmla="*/ 6635115 h 6645336"/>
              <a:gd name="connsiteX4-473" fmla="*/ 0 w 7971422"/>
              <a:gd name="connsiteY4-474" fmla="*/ 6055393 h 6645336"/>
              <a:gd name="connsiteX5-475" fmla="*/ 0 w 7971422"/>
              <a:gd name="connsiteY5-476" fmla="*/ 1653 h 6645336"/>
              <a:gd name="connsiteX0-477" fmla="*/ 0 w 7971422"/>
              <a:gd name="connsiteY0-478" fmla="*/ 1301816 h 6645336"/>
              <a:gd name="connsiteX1-479" fmla="*/ 7971347 w 7971422"/>
              <a:gd name="connsiteY1-480" fmla="*/ 0 h 6645336"/>
              <a:gd name="connsiteX2-481" fmla="*/ 7965616 w 7971422"/>
              <a:gd name="connsiteY2-482" fmla="*/ 6645336 h 6645336"/>
              <a:gd name="connsiteX3-483" fmla="*/ 579722 w 7971422"/>
              <a:gd name="connsiteY3-484" fmla="*/ 6635115 h 6645336"/>
              <a:gd name="connsiteX4-485" fmla="*/ 0 w 7971422"/>
              <a:gd name="connsiteY4-486" fmla="*/ 6055393 h 6645336"/>
              <a:gd name="connsiteX5-487" fmla="*/ 0 w 7971422"/>
              <a:gd name="connsiteY5-488" fmla="*/ 1301816 h 6645336"/>
              <a:gd name="connsiteX0-489" fmla="*/ 0 w 7965616"/>
              <a:gd name="connsiteY0-490" fmla="*/ 1653 h 5345173"/>
              <a:gd name="connsiteX1-491" fmla="*/ 7957060 w 7965616"/>
              <a:gd name="connsiteY1-492" fmla="*/ 0 h 5345173"/>
              <a:gd name="connsiteX2-493" fmla="*/ 7965616 w 7965616"/>
              <a:gd name="connsiteY2-494" fmla="*/ 5345173 h 5345173"/>
              <a:gd name="connsiteX3-495" fmla="*/ 579722 w 7965616"/>
              <a:gd name="connsiteY3-496" fmla="*/ 5334952 h 5345173"/>
              <a:gd name="connsiteX4-497" fmla="*/ 0 w 7965616"/>
              <a:gd name="connsiteY4-498" fmla="*/ 4755230 h 5345173"/>
              <a:gd name="connsiteX5-499" fmla="*/ 0 w 7965616"/>
              <a:gd name="connsiteY5-500" fmla="*/ 1653 h 5345173"/>
              <a:gd name="connsiteX0-501" fmla="*/ 0 w 7971422"/>
              <a:gd name="connsiteY0-502" fmla="*/ 1653 h 5345173"/>
              <a:gd name="connsiteX1-503" fmla="*/ 7971347 w 7971422"/>
              <a:gd name="connsiteY1-504" fmla="*/ 0 h 5345173"/>
              <a:gd name="connsiteX2-505" fmla="*/ 7965616 w 7971422"/>
              <a:gd name="connsiteY2-506" fmla="*/ 5345173 h 5345173"/>
              <a:gd name="connsiteX3-507" fmla="*/ 579722 w 7971422"/>
              <a:gd name="connsiteY3-508" fmla="*/ 5334952 h 5345173"/>
              <a:gd name="connsiteX4-509" fmla="*/ 0 w 7971422"/>
              <a:gd name="connsiteY4-510" fmla="*/ 4755230 h 5345173"/>
              <a:gd name="connsiteX5-511" fmla="*/ 0 w 7971422"/>
              <a:gd name="connsiteY5-512" fmla="*/ 1653 h 5345173"/>
              <a:gd name="connsiteX0-513" fmla="*/ 0 w 7988356"/>
              <a:gd name="connsiteY0-514" fmla="*/ 187920 h 5345173"/>
              <a:gd name="connsiteX1-515" fmla="*/ 7988281 w 7988356"/>
              <a:gd name="connsiteY1-516" fmla="*/ 0 h 5345173"/>
              <a:gd name="connsiteX2-517" fmla="*/ 7982550 w 7988356"/>
              <a:gd name="connsiteY2-518" fmla="*/ 5345173 h 5345173"/>
              <a:gd name="connsiteX3-519" fmla="*/ 596656 w 7988356"/>
              <a:gd name="connsiteY3-520" fmla="*/ 5334952 h 5345173"/>
              <a:gd name="connsiteX4-521" fmla="*/ 16934 w 7988356"/>
              <a:gd name="connsiteY4-522" fmla="*/ 4755230 h 5345173"/>
              <a:gd name="connsiteX5-523" fmla="*/ 0 w 7988356"/>
              <a:gd name="connsiteY5-524" fmla="*/ 187920 h 5345173"/>
              <a:gd name="connsiteX0-525" fmla="*/ 0 w 7988356"/>
              <a:gd name="connsiteY0-526" fmla="*/ 210145 h 5345173"/>
              <a:gd name="connsiteX1-527" fmla="*/ 7988281 w 7988356"/>
              <a:gd name="connsiteY1-528" fmla="*/ 0 h 5345173"/>
              <a:gd name="connsiteX2-529" fmla="*/ 7982550 w 7988356"/>
              <a:gd name="connsiteY2-530" fmla="*/ 5345173 h 5345173"/>
              <a:gd name="connsiteX3-531" fmla="*/ 596656 w 7988356"/>
              <a:gd name="connsiteY3-532" fmla="*/ 5334952 h 5345173"/>
              <a:gd name="connsiteX4-533" fmla="*/ 16934 w 7988356"/>
              <a:gd name="connsiteY4-534" fmla="*/ 4755230 h 5345173"/>
              <a:gd name="connsiteX5-535" fmla="*/ 0 w 7988356"/>
              <a:gd name="connsiteY5-536" fmla="*/ 210145 h 5345173"/>
              <a:gd name="connsiteX0-537" fmla="*/ 0 w 7988356"/>
              <a:gd name="connsiteY0-538" fmla="*/ 0 h 5135028"/>
              <a:gd name="connsiteX1-539" fmla="*/ 7988281 w 7988356"/>
              <a:gd name="connsiteY1-540" fmla="*/ 7569 h 5135028"/>
              <a:gd name="connsiteX2-541" fmla="*/ 7982550 w 7988356"/>
              <a:gd name="connsiteY2-542" fmla="*/ 5135028 h 5135028"/>
              <a:gd name="connsiteX3-543" fmla="*/ 596656 w 7988356"/>
              <a:gd name="connsiteY3-544" fmla="*/ 5124807 h 5135028"/>
              <a:gd name="connsiteX4-545" fmla="*/ 16934 w 7988356"/>
              <a:gd name="connsiteY4-546" fmla="*/ 4545085 h 5135028"/>
              <a:gd name="connsiteX5-547" fmla="*/ 0 w 7988356"/>
              <a:gd name="connsiteY5-548" fmla="*/ 0 h 513502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US"/>
              <a:t>Insert Photo</a:t>
            </a:r>
            <a:endParaRPr lang="en-US"/>
          </a:p>
        </p:txBody>
      </p:sp>
      <p:sp>
        <p:nvSpPr>
          <p:cNvPr id="7" name="Text Placeholder 6"/>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2" name="Text Placeholder 6"/>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20"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2"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5"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6"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7" name="Text Placeholder 2"/>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8" name="Text Placeholder 6"/>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5" name="图片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4" Type="http://schemas.openxmlformats.org/officeDocument/2006/relationships/theme" Target="../theme/theme1.xml"/><Relationship Id="rId23" Type="http://schemas.openxmlformats.org/officeDocument/2006/relationships/vmlDrawing" Target="../drawings/vmlDrawing1.vml"/><Relationship Id="rId22" Type="http://schemas.openxmlformats.org/officeDocument/2006/relationships/tags" Target="../tags/tag2.xml"/><Relationship Id="rId21" Type="http://schemas.openxmlformats.org/officeDocument/2006/relationships/image" Target="../media/image3.emf"/><Relationship Id="rId20" Type="http://schemas.openxmlformats.org/officeDocument/2006/relationships/oleObject" Target="../embeddings/oleObject1.bin"/><Relationship Id="rId2" Type="http://schemas.openxmlformats.org/officeDocument/2006/relationships/slideLayout" Target="../slideLayouts/slideLayout2.xml"/><Relationship Id="rId19" Type="http://schemas.openxmlformats.org/officeDocument/2006/relationships/tags" Target="../tags/tag1.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7" name="think-cell 幻灯片" r:id="rId20" imgW="5715" imgH="5715" progId="TCLayout.ActiveDocument.1">
                  <p:embed/>
                </p:oleObj>
              </mc:Choice>
              <mc:Fallback>
                <p:oleObj name="think-cell 幻灯片" r:id="rId20" imgW="5715" imgH="5715" progId="TCLayout.ActiveDocument.1">
                  <p:embed/>
                  <p:pic>
                    <p:nvPicPr>
                      <p:cNvPr id="0" name="Object 3"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zh-CN" altLang="en-US"/>
              <a:t>康瑞胶</a:t>
            </a:r>
            <a:endParaRPr lang="en-US"/>
          </a:p>
        </p:txBody>
      </p:sp>
      <p:sp>
        <p:nvSpPr>
          <p:cNvPr id="9" name="タイトル プレースホルダ 1"/>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ransition spd="slow">
    <p:push dir="u"/>
  </p:transition>
  <p:hf hdr="0" ftr="0" dt="0"/>
  <p:txStyles>
    <p:titleStyle>
      <a:lvl1pPr algn="l" defTabSz="91440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p:titleStyle>
    <p:body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65" kern="1200">
          <a:solidFill>
            <a:schemeClr val="tx1"/>
          </a:solidFill>
          <a:latin typeface="+mn-lt"/>
          <a:ea typeface="+mn-ea"/>
          <a:cs typeface="+mn-cs"/>
        </a:defRPr>
      </a:lvl1pPr>
      <a:lvl2pPr marL="457200" algn="l" defTabSz="914400" rtl="0" eaLnBrk="1" latinLnBrk="0" hangingPunct="1">
        <a:defRPr kumimoji="1" sz="1865" kern="1200">
          <a:solidFill>
            <a:schemeClr val="tx1"/>
          </a:solidFill>
          <a:latin typeface="+mn-lt"/>
          <a:ea typeface="+mn-ea"/>
          <a:cs typeface="+mn-cs"/>
        </a:defRPr>
      </a:lvl2pPr>
      <a:lvl3pPr marL="914400" algn="l" defTabSz="914400" rtl="0" eaLnBrk="1" latinLnBrk="0" hangingPunct="1">
        <a:defRPr kumimoji="1" sz="1865" kern="1200">
          <a:solidFill>
            <a:schemeClr val="tx1"/>
          </a:solidFill>
          <a:latin typeface="+mn-lt"/>
          <a:ea typeface="+mn-ea"/>
          <a:cs typeface="+mn-cs"/>
        </a:defRPr>
      </a:lvl3pPr>
      <a:lvl4pPr marL="1370965" algn="l" defTabSz="914400" rtl="0" eaLnBrk="1" latinLnBrk="0" hangingPunct="1">
        <a:defRPr kumimoji="1" sz="1865" kern="1200">
          <a:solidFill>
            <a:schemeClr val="tx1"/>
          </a:solidFill>
          <a:latin typeface="+mn-lt"/>
          <a:ea typeface="+mn-ea"/>
          <a:cs typeface="+mn-cs"/>
        </a:defRPr>
      </a:lvl4pPr>
      <a:lvl5pPr marL="1828165" algn="l" defTabSz="914400" rtl="0" eaLnBrk="1" latinLnBrk="0" hangingPunct="1">
        <a:defRPr kumimoji="1" sz="1865" kern="1200">
          <a:solidFill>
            <a:schemeClr val="tx1"/>
          </a:solidFill>
          <a:latin typeface="+mn-lt"/>
          <a:ea typeface="+mn-ea"/>
          <a:cs typeface="+mn-cs"/>
        </a:defRPr>
      </a:lvl5pPr>
      <a:lvl6pPr marL="2285365" algn="l" defTabSz="914400" rtl="0" eaLnBrk="1" latinLnBrk="0" hangingPunct="1">
        <a:defRPr kumimoji="1" sz="1865" kern="1200">
          <a:solidFill>
            <a:schemeClr val="tx1"/>
          </a:solidFill>
          <a:latin typeface="+mn-lt"/>
          <a:ea typeface="+mn-ea"/>
          <a:cs typeface="+mn-cs"/>
        </a:defRPr>
      </a:lvl6pPr>
      <a:lvl7pPr marL="2742565" algn="l" defTabSz="914400" rtl="0" eaLnBrk="1" latinLnBrk="0" hangingPunct="1">
        <a:defRPr kumimoji="1" sz="1865" kern="1200">
          <a:solidFill>
            <a:schemeClr val="tx1"/>
          </a:solidFill>
          <a:latin typeface="+mn-lt"/>
          <a:ea typeface="+mn-ea"/>
          <a:cs typeface="+mn-cs"/>
        </a:defRPr>
      </a:lvl7pPr>
      <a:lvl8pPr marL="3199765" algn="l" defTabSz="914400" rtl="0" eaLnBrk="1" latinLnBrk="0" hangingPunct="1">
        <a:defRPr kumimoji="1" sz="1865" kern="1200">
          <a:solidFill>
            <a:schemeClr val="tx1"/>
          </a:solidFill>
          <a:latin typeface="+mn-lt"/>
          <a:ea typeface="+mn-ea"/>
          <a:cs typeface="+mn-cs"/>
        </a:defRPr>
      </a:lvl8pPr>
      <a:lvl9pPr marL="3656330" algn="l" defTabSz="914400" rtl="0" eaLnBrk="1" latinLnBrk="0" hangingPunct="1">
        <a:defRPr kumimoji="1" sz="18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image" Target="../media/image4.png"/></Relationships>
</file>

<file path=ppt/slides/_rels/slide10.xml.rels><?xml version="1.0" encoding="UTF-8" standalone="yes"?>
<Relationships xmlns="http://schemas.openxmlformats.org/package/2006/relationships"><Relationship Id="rId9" Type="http://schemas.openxmlformats.org/officeDocument/2006/relationships/image" Target="../media/image12.png"/><Relationship Id="rId8" Type="http://schemas.openxmlformats.org/officeDocument/2006/relationships/image" Target="../media/image11.png"/><Relationship Id="rId7" Type="http://schemas.openxmlformats.org/officeDocument/2006/relationships/image" Target="../media/image10.png"/><Relationship Id="rId6" Type="http://schemas.openxmlformats.org/officeDocument/2006/relationships/image" Target="../media/image9.png"/><Relationship Id="rId5" Type="http://schemas.openxmlformats.org/officeDocument/2006/relationships/tags" Target="../tags/tag55.xml"/><Relationship Id="rId4" Type="http://schemas.openxmlformats.org/officeDocument/2006/relationships/image" Target="../media/image5.emf"/><Relationship Id="rId3" Type="http://schemas.openxmlformats.org/officeDocument/2006/relationships/oleObject" Target="../embeddings/oleObject9.bin"/><Relationship Id="rId22" Type="http://schemas.openxmlformats.org/officeDocument/2006/relationships/notesSlide" Target="../notesSlides/notesSlide10.xml"/><Relationship Id="rId21" Type="http://schemas.openxmlformats.org/officeDocument/2006/relationships/vmlDrawing" Target="../drawings/vmlDrawing9.vml"/><Relationship Id="rId20" Type="http://schemas.openxmlformats.org/officeDocument/2006/relationships/slideLayout" Target="../slideLayouts/slideLayout10.xml"/><Relationship Id="rId2" Type="http://schemas.openxmlformats.org/officeDocument/2006/relationships/tags" Target="../tags/tag54.xml"/><Relationship Id="rId19" Type="http://schemas.microsoft.com/office/2007/relationships/diagramDrawing" Target="../diagrams/drawing1.xml"/><Relationship Id="rId18" Type="http://schemas.openxmlformats.org/officeDocument/2006/relationships/diagramColors" Target="../diagrams/colors1.xml"/><Relationship Id="rId17" Type="http://schemas.openxmlformats.org/officeDocument/2006/relationships/diagramQuickStyle" Target="../diagrams/quickStyle1.xml"/><Relationship Id="rId16" Type="http://schemas.openxmlformats.org/officeDocument/2006/relationships/diagramLayout" Target="../diagrams/layout1.xml"/><Relationship Id="rId15" Type="http://schemas.openxmlformats.org/officeDocument/2006/relationships/diagramData" Target="../diagrams/data1.xml"/><Relationship Id="rId14" Type="http://schemas.openxmlformats.org/officeDocument/2006/relationships/image" Target="../media/image17.png"/><Relationship Id="rId13" Type="http://schemas.openxmlformats.org/officeDocument/2006/relationships/image" Target="../media/image16.png"/><Relationship Id="rId12" Type="http://schemas.openxmlformats.org/officeDocument/2006/relationships/image" Target="../media/image15.png"/><Relationship Id="rId11" Type="http://schemas.openxmlformats.org/officeDocument/2006/relationships/image" Target="../media/image14.png"/><Relationship Id="rId10" Type="http://schemas.openxmlformats.org/officeDocument/2006/relationships/image" Target="../media/image13.png"/><Relationship Id="rId1" Type="http://schemas.openxmlformats.org/officeDocument/2006/relationships/image" Target="../media/image8.png"/></Relationships>
</file>

<file path=ppt/slides/_rels/slide11.xml.rels><?xml version="1.0" encoding="UTF-8" standalone="yes"?>
<Relationships xmlns="http://schemas.openxmlformats.org/package/2006/relationships"><Relationship Id="rId7" Type="http://schemas.openxmlformats.org/officeDocument/2006/relationships/notesSlide" Target="../notesSlides/notesSlide11.xml"/><Relationship Id="rId6" Type="http://schemas.openxmlformats.org/officeDocument/2006/relationships/vmlDrawing" Target="../drawings/vmlDrawing10.vml"/><Relationship Id="rId5" Type="http://schemas.openxmlformats.org/officeDocument/2006/relationships/slideLayout" Target="../slideLayouts/slideLayout10.xml"/><Relationship Id="rId4" Type="http://schemas.openxmlformats.org/officeDocument/2006/relationships/tags" Target="../tags/tag57.xml"/><Relationship Id="rId3" Type="http://schemas.openxmlformats.org/officeDocument/2006/relationships/image" Target="../media/image5.emf"/><Relationship Id="rId2" Type="http://schemas.openxmlformats.org/officeDocument/2006/relationships/oleObject" Target="../embeddings/oleObject10.bin"/><Relationship Id="rId1" Type="http://schemas.openxmlformats.org/officeDocument/2006/relationships/tags" Target="../tags/tag56.xml"/></Relationships>
</file>

<file path=ppt/slides/_rels/slide2.xml.rels><?xml version="1.0" encoding="UTF-8" standalone="yes"?>
<Relationships xmlns="http://schemas.openxmlformats.org/package/2006/relationships"><Relationship Id="rId7" Type="http://schemas.openxmlformats.org/officeDocument/2006/relationships/notesSlide" Target="../notesSlides/notesSlide2.xml"/><Relationship Id="rId6" Type="http://schemas.openxmlformats.org/officeDocument/2006/relationships/vmlDrawing" Target="../drawings/vmlDrawing2.vml"/><Relationship Id="rId5" Type="http://schemas.openxmlformats.org/officeDocument/2006/relationships/slideLayout" Target="../slideLayouts/slideLayout10.xml"/><Relationship Id="rId4" Type="http://schemas.openxmlformats.org/officeDocument/2006/relationships/tags" Target="../tags/tag4.xml"/><Relationship Id="rId3" Type="http://schemas.openxmlformats.org/officeDocument/2006/relationships/image" Target="../media/image5.emf"/><Relationship Id="rId2" Type="http://schemas.openxmlformats.org/officeDocument/2006/relationships/oleObject" Target="../embeddings/oleObject2.bin"/><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vmlDrawing" Target="../drawings/vmlDrawing3.vml"/><Relationship Id="rId6"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tags" Target="../tags/tag6.xml"/><Relationship Id="rId3" Type="http://schemas.openxmlformats.org/officeDocument/2006/relationships/image" Target="../media/image5.emf"/><Relationship Id="rId2" Type="http://schemas.openxmlformats.org/officeDocument/2006/relationships/oleObject" Target="../embeddings/oleObject3.bin"/><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9" Type="http://schemas.openxmlformats.org/officeDocument/2006/relationships/tags" Target="../tags/tag13.xml"/><Relationship Id="rId8" Type="http://schemas.openxmlformats.org/officeDocument/2006/relationships/tags" Target="../tags/tag12.x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image" Target="../media/image5.emf"/><Relationship Id="rId20" Type="http://schemas.openxmlformats.org/officeDocument/2006/relationships/notesSlide" Target="../notesSlides/notesSlide4.xml"/><Relationship Id="rId2" Type="http://schemas.openxmlformats.org/officeDocument/2006/relationships/oleObject" Target="../embeddings/oleObject4.bin"/><Relationship Id="rId19" Type="http://schemas.openxmlformats.org/officeDocument/2006/relationships/vmlDrawing" Target="../drawings/vmlDrawing4.vml"/><Relationship Id="rId18" Type="http://schemas.openxmlformats.org/officeDocument/2006/relationships/slideLayout" Target="../slideLayouts/slideLayout10.xml"/><Relationship Id="rId17" Type="http://schemas.openxmlformats.org/officeDocument/2006/relationships/tags" Target="../tags/tag21.xml"/><Relationship Id="rId16" Type="http://schemas.openxmlformats.org/officeDocument/2006/relationships/tags" Target="../tags/tag20.xml"/><Relationship Id="rId15" Type="http://schemas.openxmlformats.org/officeDocument/2006/relationships/tags" Target="../tags/tag19.xml"/><Relationship Id="rId14" Type="http://schemas.openxmlformats.org/officeDocument/2006/relationships/tags" Target="../tags/tag18.xml"/><Relationship Id="rId13" Type="http://schemas.openxmlformats.org/officeDocument/2006/relationships/tags" Target="../tags/tag17.xml"/><Relationship Id="rId12" Type="http://schemas.openxmlformats.org/officeDocument/2006/relationships/tags" Target="../tags/tag16.xml"/><Relationship Id="rId11" Type="http://schemas.openxmlformats.org/officeDocument/2006/relationships/tags" Target="../tags/tag15.xml"/><Relationship Id="rId10" Type="http://schemas.openxmlformats.org/officeDocument/2006/relationships/tags" Target="../tags/tag14.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5.xml"/><Relationship Id="rId6" Type="http://schemas.openxmlformats.org/officeDocument/2006/relationships/vmlDrawing" Target="../drawings/vmlDrawing5.vml"/><Relationship Id="rId5" Type="http://schemas.openxmlformats.org/officeDocument/2006/relationships/slideLayout" Target="../slideLayouts/slideLayout10.xml"/><Relationship Id="rId4" Type="http://schemas.openxmlformats.org/officeDocument/2006/relationships/tags" Target="../tags/tag23.xml"/><Relationship Id="rId3" Type="http://schemas.openxmlformats.org/officeDocument/2006/relationships/image" Target="../media/image5.emf"/><Relationship Id="rId2" Type="http://schemas.openxmlformats.org/officeDocument/2006/relationships/oleObject" Target="../embeddings/oleObject5.bin"/><Relationship Id="rId1" Type="http://schemas.openxmlformats.org/officeDocument/2006/relationships/tags" Target="../tags/tag22.xml"/></Relationships>
</file>

<file path=ppt/slides/_rels/slide6.xml.rels><?xml version="1.0" encoding="UTF-8" standalone="yes"?>
<Relationships xmlns="http://schemas.openxmlformats.org/package/2006/relationships"><Relationship Id="rId9" Type="http://schemas.openxmlformats.org/officeDocument/2006/relationships/tags" Target="../tags/tag30.xml"/><Relationship Id="rId8" Type="http://schemas.openxmlformats.org/officeDocument/2006/relationships/tags" Target="../tags/tag29.xml"/><Relationship Id="rId7" Type="http://schemas.openxmlformats.org/officeDocument/2006/relationships/tags" Target="../tags/tag28.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3" Type="http://schemas.openxmlformats.org/officeDocument/2006/relationships/image" Target="../media/image5.emf"/><Relationship Id="rId20" Type="http://schemas.openxmlformats.org/officeDocument/2006/relationships/notesSlide" Target="../notesSlides/notesSlide6.xml"/><Relationship Id="rId2" Type="http://schemas.openxmlformats.org/officeDocument/2006/relationships/oleObject" Target="../embeddings/oleObject6.bin"/><Relationship Id="rId19" Type="http://schemas.openxmlformats.org/officeDocument/2006/relationships/vmlDrawing" Target="../drawings/vmlDrawing6.vml"/><Relationship Id="rId18" Type="http://schemas.openxmlformats.org/officeDocument/2006/relationships/slideLayout" Target="../slideLayouts/slideLayout10.xml"/><Relationship Id="rId17" Type="http://schemas.openxmlformats.org/officeDocument/2006/relationships/tags" Target="../tags/tag38.xml"/><Relationship Id="rId16" Type="http://schemas.openxmlformats.org/officeDocument/2006/relationships/tags" Target="../tags/tag37.xml"/><Relationship Id="rId15" Type="http://schemas.openxmlformats.org/officeDocument/2006/relationships/tags" Target="../tags/tag36.xml"/><Relationship Id="rId14" Type="http://schemas.openxmlformats.org/officeDocument/2006/relationships/tags" Target="../tags/tag35.xml"/><Relationship Id="rId13" Type="http://schemas.openxmlformats.org/officeDocument/2006/relationships/tags" Target="../tags/tag34.xml"/><Relationship Id="rId12" Type="http://schemas.openxmlformats.org/officeDocument/2006/relationships/tags" Target="../tags/tag33.xml"/><Relationship Id="rId11" Type="http://schemas.openxmlformats.org/officeDocument/2006/relationships/tags" Target="../tags/tag32.xml"/><Relationship Id="rId10" Type="http://schemas.openxmlformats.org/officeDocument/2006/relationships/tags" Target="../tags/tag31.xml"/><Relationship Id="rId1" Type="http://schemas.openxmlformats.org/officeDocument/2006/relationships/tags" Target="../tags/tag24.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7" Type="http://schemas.openxmlformats.org/officeDocument/2006/relationships/vmlDrawing" Target="../drawings/vmlDrawing7.vml"/><Relationship Id="rId6" Type="http://schemas.openxmlformats.org/officeDocument/2006/relationships/slideLayout" Target="../slideLayouts/slideLayout10.xml"/><Relationship Id="rId5" Type="http://schemas.openxmlformats.org/officeDocument/2006/relationships/tags" Target="../tags/tag41.xml"/><Relationship Id="rId4" Type="http://schemas.openxmlformats.org/officeDocument/2006/relationships/tags" Target="../tags/tag40.xml"/><Relationship Id="rId3" Type="http://schemas.openxmlformats.org/officeDocument/2006/relationships/image" Target="../media/image5.emf"/><Relationship Id="rId2" Type="http://schemas.openxmlformats.org/officeDocument/2006/relationships/oleObject" Target="../embeddings/oleObject7.bin"/><Relationship Id="rId1" Type="http://schemas.openxmlformats.org/officeDocument/2006/relationships/tags" Target="../tags/tag39.xml"/></Relationships>
</file>

<file path=ppt/slides/_rels/slide8.xml.rels><?xml version="1.0" encoding="UTF-8" standalone="yes"?>
<Relationships xmlns="http://schemas.openxmlformats.org/package/2006/relationships"><Relationship Id="rId9" Type="http://schemas.openxmlformats.org/officeDocument/2006/relationships/notesSlide" Target="../notesSlides/notesSlide8.xml"/><Relationship Id="rId8" Type="http://schemas.openxmlformats.org/officeDocument/2006/relationships/vmlDrawing" Target="../drawings/vmlDrawing8.vml"/><Relationship Id="rId7" Type="http://schemas.openxmlformats.org/officeDocument/2006/relationships/slideLayout" Target="../slideLayouts/slideLayout1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3" Type="http://schemas.openxmlformats.org/officeDocument/2006/relationships/image" Target="../media/image5.emf"/><Relationship Id="rId2" Type="http://schemas.openxmlformats.org/officeDocument/2006/relationships/oleObject" Target="../embeddings/oleObject8.bin"/><Relationship Id="rId1" Type="http://schemas.openxmlformats.org/officeDocument/2006/relationships/tags" Target="../tags/tag42.xml"/></Relationships>
</file>

<file path=ppt/slides/_rels/slide9.xml.rels><?xml version="1.0" encoding="UTF-8" standalone="yes"?>
<Relationships xmlns="http://schemas.openxmlformats.org/package/2006/relationships"><Relationship Id="rId9" Type="http://schemas.openxmlformats.org/officeDocument/2006/relationships/tags" Target="../tags/tag53.xml"/><Relationship Id="rId8" Type="http://schemas.openxmlformats.org/officeDocument/2006/relationships/tags" Target="../tags/tag52.xml"/><Relationship Id="rId7" Type="http://schemas.openxmlformats.org/officeDocument/2006/relationships/tags" Target="../tags/tag51.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3" Type="http://schemas.openxmlformats.org/officeDocument/2006/relationships/tags" Target="../tags/tag47.xml"/><Relationship Id="rId2" Type="http://schemas.openxmlformats.org/officeDocument/2006/relationships/tags" Target="../tags/tag46.xml"/><Relationship Id="rId11" Type="http://schemas.openxmlformats.org/officeDocument/2006/relationships/notesSlide" Target="../notesSlides/notesSlide9.xml"/><Relationship Id="rId10" Type="http://schemas.openxmlformats.org/officeDocument/2006/relationships/slideLayout" Target="../slideLayouts/slideLayout4.xml"/><Relationship Id="rId1"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30"/>
          </p:nvPr>
        </p:nvSpPr>
        <p:spPr>
          <a:xfrm>
            <a:off x="1194730" y="4503681"/>
            <a:ext cx="6862150" cy="263075"/>
          </a:xfrm>
        </p:spPr>
        <p:txBody>
          <a:bodyPr/>
          <a:lstStyle/>
          <a:p>
            <a:r>
              <a:rPr lang="zh-CN" altLang="en-US" sz="1800" b="1" dirty="0">
                <a:solidFill>
                  <a:srgbClr val="1A1918"/>
                </a:solidFill>
                <a:latin typeface="微软雅黑" panose="020B0503020204020204" pitchFamily="34" charset="-122"/>
                <a:ea typeface="微软雅黑" panose="020B0503020204020204" pitchFamily="34" charset="-122"/>
              </a:rPr>
              <a:t>上海利康瑞生物工程有限公司</a:t>
            </a:r>
            <a:endParaRPr lang="en-US" sz="1800" b="1" dirty="0">
              <a:solidFill>
                <a:srgbClr val="1A1918"/>
              </a:solidFill>
              <a:latin typeface="微软雅黑" panose="020B0503020204020204" pitchFamily="34" charset="-122"/>
              <a:ea typeface="微软雅黑" panose="020B0503020204020204" pitchFamily="34" charset="-122"/>
            </a:endParaRPr>
          </a:p>
        </p:txBody>
      </p:sp>
      <p:sp>
        <p:nvSpPr>
          <p:cNvPr id="7" name="Title 1"/>
          <p:cNvSpPr>
            <a:spLocks noGrp="1"/>
          </p:cNvSpPr>
          <p:nvPr>
            <p:ph type="ctrTitle"/>
          </p:nvPr>
        </p:nvSpPr>
        <p:spPr>
          <a:xfrm>
            <a:off x="412304" y="2061360"/>
            <a:ext cx="5092949" cy="1125969"/>
          </a:xfrm>
        </p:spPr>
        <p:txBody>
          <a:bodyPr>
            <a:noAutofit/>
          </a:bodyPr>
          <a:lstStyle/>
          <a:p>
            <a:pPr algn="ctr">
              <a:lnSpc>
                <a:spcPct val="150000"/>
              </a:lnSpc>
            </a:pPr>
            <a:r>
              <a:rPr lang="zh-CN" altLang="en-US" dirty="0">
                <a:solidFill>
                  <a:srgbClr val="1A1918"/>
                </a:solidFill>
                <a:latin typeface="微软雅黑" panose="020B0503020204020204" pitchFamily="34" charset="-122"/>
                <a:ea typeface="微软雅黑" panose="020B0503020204020204" pitchFamily="34" charset="-122"/>
              </a:rPr>
              <a:t>猪纤维蛋白粘合剂</a:t>
            </a:r>
            <a:br>
              <a:rPr lang="en-US" altLang="zh-CN" dirty="0">
                <a:solidFill>
                  <a:srgbClr val="1A1918"/>
                </a:solidFill>
                <a:latin typeface="微软雅黑" panose="020B0503020204020204" pitchFamily="34" charset="-122"/>
                <a:ea typeface="微软雅黑" panose="020B0503020204020204" pitchFamily="34" charset="-122"/>
              </a:rPr>
            </a:br>
            <a:r>
              <a:rPr lang="zh-CN" altLang="en-US" sz="2800" dirty="0">
                <a:solidFill>
                  <a:srgbClr val="1A1918"/>
                </a:solidFill>
                <a:latin typeface="微软雅黑" panose="020B0503020204020204" pitchFamily="34" charset="-122"/>
                <a:ea typeface="微软雅黑" panose="020B0503020204020204" pitchFamily="34" charset="-122"/>
              </a:rPr>
              <a:t>（商品名：康瑞胶）</a:t>
            </a:r>
            <a:endParaRPr lang="en-US" dirty="0">
              <a:solidFill>
                <a:srgbClr val="1A1918"/>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172474" y="1672320"/>
            <a:ext cx="5768811" cy="3845874"/>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rotWithShape="1">
          <a:blip r:embed="rId1" cstate="print">
            <a:extLst>
              <a:ext uri="{28A0092B-C50C-407E-A947-70E740481C1C}">
                <a14:useLocalDpi xmlns:a14="http://schemas.microsoft.com/office/drawing/2010/main" val="0"/>
              </a:ext>
            </a:extLst>
          </a:blip>
          <a:srcRect l="10665" t="8688" r="8867" b="45240"/>
          <a:stretch>
            <a:fillRect/>
          </a:stretch>
        </p:blipFill>
        <p:spPr>
          <a:xfrm>
            <a:off x="1885716" y="2929980"/>
            <a:ext cx="2432155" cy="1969496"/>
          </a:xfrm>
          <a:prstGeom prst="rect">
            <a:avLst/>
          </a:prstGeom>
        </p:spPr>
      </p:pic>
      <p:graphicFrame>
        <p:nvGraphicFramePr>
          <p:cNvPr id="18" name="Object 1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9" name="think-cell 幻灯片" r:id="rId3" imgW="9525" imgH="9525" progId="TCLayout.ActiveDocument.1">
                  <p:embed/>
                </p:oleObj>
              </mc:Choice>
              <mc:Fallback>
                <p:oleObj name="think-cell 幻灯片" r:id="rId3" imgW="9525" imgH="9525" progId="TCLayout.ActiveDocument.1">
                  <p:embed/>
                  <p:pic>
                    <p:nvPicPr>
                      <p:cNvPr id="0" name="Object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20" name="矩形: 圆角 19"/>
          <p:cNvSpPr/>
          <p:nvPr/>
        </p:nvSpPr>
        <p:spPr>
          <a:xfrm>
            <a:off x="532639" y="2662739"/>
            <a:ext cx="5552740" cy="3888469"/>
          </a:xfrm>
          <a:prstGeom prst="roundRect">
            <a:avLst>
              <a:gd name="adj" fmla="val 5248"/>
            </a:avLst>
          </a:prstGeom>
          <a:noFill/>
          <a:ln w="19050">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36" name="矩形 135"/>
          <p:cNvSpPr/>
          <p:nvPr/>
        </p:nvSpPr>
        <p:spPr>
          <a:xfrm>
            <a:off x="1052243" y="2485458"/>
            <a:ext cx="4453903" cy="371662"/>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科技查新报告和国内专利授权</a:t>
            </a:r>
            <a:endParaRPr kumimoji="1" lang="zh-CN" altLang="zh-CN" sz="16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37" name="Group 162"/>
          <p:cNvGrpSpPr/>
          <p:nvPr/>
        </p:nvGrpSpPr>
        <p:grpSpPr>
          <a:xfrm>
            <a:off x="991064" y="2481344"/>
            <a:ext cx="396000" cy="396000"/>
            <a:chOff x="3425315" y="-4815154"/>
            <a:chExt cx="6468011" cy="6468011"/>
          </a:xfrm>
          <a:effectLst>
            <a:outerShdw blurRad="50800" dist="38100" dir="2700000" algn="tl" rotWithShape="0">
              <a:prstClr val="black">
                <a:alpha val="40000"/>
              </a:prstClr>
            </a:outerShdw>
          </a:effectLst>
        </p:grpSpPr>
        <p:sp>
          <p:nvSpPr>
            <p:cNvPr id="138" name="Freeform 70"/>
            <p:cNvSpPr/>
            <p:nvPr/>
          </p:nvSpPr>
          <p:spPr bwMode="auto">
            <a:xfrm>
              <a:off x="3425315" y="-4815154"/>
              <a:ext cx="6468011" cy="6468011"/>
            </a:xfrm>
            <a:custGeom>
              <a:avLst/>
              <a:gdLst/>
              <a:ahLst/>
              <a:cxnLst>
                <a:cxn ang="0">
                  <a:pos x="4780" y="2576"/>
                </a:cxn>
                <a:cxn ang="0">
                  <a:pos x="4738" y="2874"/>
                </a:cxn>
                <a:cxn ang="0">
                  <a:pos x="4660" y="3160"/>
                </a:cxn>
                <a:cxn ang="0">
                  <a:pos x="4550" y="3430"/>
                </a:cxn>
                <a:cxn ang="0">
                  <a:pos x="4410" y="3682"/>
                </a:cxn>
                <a:cxn ang="0">
                  <a:pos x="4240" y="3914"/>
                </a:cxn>
                <a:cxn ang="0">
                  <a:pos x="4044" y="4124"/>
                </a:cxn>
                <a:cxn ang="0">
                  <a:pos x="3826" y="4310"/>
                </a:cxn>
                <a:cxn ang="0">
                  <a:pos x="3584" y="4468"/>
                </a:cxn>
                <a:cxn ang="0">
                  <a:pos x="3324" y="4598"/>
                </a:cxn>
                <a:cxn ang="0">
                  <a:pos x="3048" y="4694"/>
                </a:cxn>
                <a:cxn ang="0">
                  <a:pos x="2758" y="4758"/>
                </a:cxn>
                <a:cxn ang="0">
                  <a:pos x="2456" y="4784"/>
                </a:cxn>
                <a:cxn ang="0">
                  <a:pos x="2210" y="4778"/>
                </a:cxn>
                <a:cxn ang="0">
                  <a:pos x="1912" y="4736"/>
                </a:cxn>
                <a:cxn ang="0">
                  <a:pos x="1626" y="4660"/>
                </a:cxn>
                <a:cxn ang="0">
                  <a:pos x="1356" y="4550"/>
                </a:cxn>
                <a:cxn ang="0">
                  <a:pos x="1104" y="4408"/>
                </a:cxn>
                <a:cxn ang="0">
                  <a:pos x="872" y="4238"/>
                </a:cxn>
                <a:cxn ang="0">
                  <a:pos x="662" y="4044"/>
                </a:cxn>
                <a:cxn ang="0">
                  <a:pos x="476" y="3824"/>
                </a:cxn>
                <a:cxn ang="0">
                  <a:pos x="318" y="3584"/>
                </a:cxn>
                <a:cxn ang="0">
                  <a:pos x="188" y="3324"/>
                </a:cxn>
                <a:cxn ang="0">
                  <a:pos x="92" y="3048"/>
                </a:cxn>
                <a:cxn ang="0">
                  <a:pos x="28" y="2756"/>
                </a:cxn>
                <a:cxn ang="0">
                  <a:pos x="2" y="2454"/>
                </a:cxn>
                <a:cxn ang="0">
                  <a:pos x="8" y="2208"/>
                </a:cxn>
                <a:cxn ang="0">
                  <a:pos x="50" y="1910"/>
                </a:cxn>
                <a:cxn ang="0">
                  <a:pos x="126" y="1626"/>
                </a:cxn>
                <a:cxn ang="0">
                  <a:pos x="236" y="1356"/>
                </a:cxn>
                <a:cxn ang="0">
                  <a:pos x="378" y="1102"/>
                </a:cxn>
                <a:cxn ang="0">
                  <a:pos x="548" y="870"/>
                </a:cxn>
                <a:cxn ang="0">
                  <a:pos x="742" y="660"/>
                </a:cxn>
                <a:cxn ang="0">
                  <a:pos x="962" y="476"/>
                </a:cxn>
                <a:cxn ang="0">
                  <a:pos x="1202" y="316"/>
                </a:cxn>
                <a:cxn ang="0">
                  <a:pos x="1462" y="188"/>
                </a:cxn>
                <a:cxn ang="0">
                  <a:pos x="1738" y="90"/>
                </a:cxn>
                <a:cxn ang="0">
                  <a:pos x="2030" y="28"/>
                </a:cxn>
                <a:cxn ang="0">
                  <a:pos x="2332" y="0"/>
                </a:cxn>
                <a:cxn ang="0">
                  <a:pos x="2578" y="6"/>
                </a:cxn>
                <a:cxn ang="0">
                  <a:pos x="2876" y="48"/>
                </a:cxn>
                <a:cxn ang="0">
                  <a:pos x="3160" y="126"/>
                </a:cxn>
                <a:cxn ang="0">
                  <a:pos x="3430" y="236"/>
                </a:cxn>
                <a:cxn ang="0">
                  <a:pos x="3684" y="376"/>
                </a:cxn>
                <a:cxn ang="0">
                  <a:pos x="3916" y="546"/>
                </a:cxn>
                <a:cxn ang="0">
                  <a:pos x="4126" y="742"/>
                </a:cxn>
                <a:cxn ang="0">
                  <a:pos x="4310" y="960"/>
                </a:cxn>
                <a:cxn ang="0">
                  <a:pos x="4470" y="1202"/>
                </a:cxn>
                <a:cxn ang="0">
                  <a:pos x="4598" y="1462"/>
                </a:cxn>
                <a:cxn ang="0">
                  <a:pos x="4696" y="1738"/>
                </a:cxn>
                <a:cxn ang="0">
                  <a:pos x="4758" y="2028"/>
                </a:cxn>
                <a:cxn ang="0">
                  <a:pos x="4786" y="2330"/>
                </a:cxn>
              </a:cxnLst>
              <a:rect l="0" t="0" r="r" b="b"/>
              <a:pathLst>
                <a:path w="4786" h="4786">
                  <a:moveTo>
                    <a:pt x="4786" y="2392"/>
                  </a:moveTo>
                  <a:lnTo>
                    <a:pt x="4786" y="2392"/>
                  </a:lnTo>
                  <a:lnTo>
                    <a:pt x="4786" y="2454"/>
                  </a:lnTo>
                  <a:lnTo>
                    <a:pt x="4784" y="2516"/>
                  </a:lnTo>
                  <a:lnTo>
                    <a:pt x="4780" y="2576"/>
                  </a:lnTo>
                  <a:lnTo>
                    <a:pt x="4774" y="2638"/>
                  </a:lnTo>
                  <a:lnTo>
                    <a:pt x="4768" y="2698"/>
                  </a:lnTo>
                  <a:lnTo>
                    <a:pt x="4758" y="2756"/>
                  </a:lnTo>
                  <a:lnTo>
                    <a:pt x="4748" y="2816"/>
                  </a:lnTo>
                  <a:lnTo>
                    <a:pt x="4738" y="2874"/>
                  </a:lnTo>
                  <a:lnTo>
                    <a:pt x="4726" y="2932"/>
                  </a:lnTo>
                  <a:lnTo>
                    <a:pt x="4712" y="2990"/>
                  </a:lnTo>
                  <a:lnTo>
                    <a:pt x="4696" y="3048"/>
                  </a:lnTo>
                  <a:lnTo>
                    <a:pt x="4678" y="3104"/>
                  </a:lnTo>
                  <a:lnTo>
                    <a:pt x="4660" y="3160"/>
                  </a:lnTo>
                  <a:lnTo>
                    <a:pt x="4642" y="3216"/>
                  </a:lnTo>
                  <a:lnTo>
                    <a:pt x="4620" y="3270"/>
                  </a:lnTo>
                  <a:lnTo>
                    <a:pt x="4598" y="3324"/>
                  </a:lnTo>
                  <a:lnTo>
                    <a:pt x="4574" y="3378"/>
                  </a:lnTo>
                  <a:lnTo>
                    <a:pt x="4550" y="3430"/>
                  </a:lnTo>
                  <a:lnTo>
                    <a:pt x="4524" y="3482"/>
                  </a:lnTo>
                  <a:lnTo>
                    <a:pt x="4498" y="3534"/>
                  </a:lnTo>
                  <a:lnTo>
                    <a:pt x="4470" y="3584"/>
                  </a:lnTo>
                  <a:lnTo>
                    <a:pt x="4440" y="3634"/>
                  </a:lnTo>
                  <a:lnTo>
                    <a:pt x="4410" y="3682"/>
                  </a:lnTo>
                  <a:lnTo>
                    <a:pt x="4378" y="3730"/>
                  </a:lnTo>
                  <a:lnTo>
                    <a:pt x="4344" y="3778"/>
                  </a:lnTo>
                  <a:lnTo>
                    <a:pt x="4310" y="3824"/>
                  </a:lnTo>
                  <a:lnTo>
                    <a:pt x="4276" y="3870"/>
                  </a:lnTo>
                  <a:lnTo>
                    <a:pt x="4240" y="3914"/>
                  </a:lnTo>
                  <a:lnTo>
                    <a:pt x="4202" y="3958"/>
                  </a:lnTo>
                  <a:lnTo>
                    <a:pt x="4164" y="4002"/>
                  </a:lnTo>
                  <a:lnTo>
                    <a:pt x="4126" y="4044"/>
                  </a:lnTo>
                  <a:lnTo>
                    <a:pt x="4086" y="4084"/>
                  </a:lnTo>
                  <a:lnTo>
                    <a:pt x="4044" y="4124"/>
                  </a:lnTo>
                  <a:lnTo>
                    <a:pt x="4002" y="4164"/>
                  </a:lnTo>
                  <a:lnTo>
                    <a:pt x="3960" y="4202"/>
                  </a:lnTo>
                  <a:lnTo>
                    <a:pt x="3916" y="4238"/>
                  </a:lnTo>
                  <a:lnTo>
                    <a:pt x="3870" y="4274"/>
                  </a:lnTo>
                  <a:lnTo>
                    <a:pt x="3826" y="4310"/>
                  </a:lnTo>
                  <a:lnTo>
                    <a:pt x="3778" y="4344"/>
                  </a:lnTo>
                  <a:lnTo>
                    <a:pt x="3732" y="4376"/>
                  </a:lnTo>
                  <a:lnTo>
                    <a:pt x="3684" y="4408"/>
                  </a:lnTo>
                  <a:lnTo>
                    <a:pt x="3634" y="4438"/>
                  </a:lnTo>
                  <a:lnTo>
                    <a:pt x="3584" y="4468"/>
                  </a:lnTo>
                  <a:lnTo>
                    <a:pt x="3534" y="4496"/>
                  </a:lnTo>
                  <a:lnTo>
                    <a:pt x="3482" y="4524"/>
                  </a:lnTo>
                  <a:lnTo>
                    <a:pt x="3430" y="4550"/>
                  </a:lnTo>
                  <a:lnTo>
                    <a:pt x="3378" y="4574"/>
                  </a:lnTo>
                  <a:lnTo>
                    <a:pt x="3324" y="4598"/>
                  </a:lnTo>
                  <a:lnTo>
                    <a:pt x="3270" y="4620"/>
                  </a:lnTo>
                  <a:lnTo>
                    <a:pt x="3216" y="4640"/>
                  </a:lnTo>
                  <a:lnTo>
                    <a:pt x="3160" y="4660"/>
                  </a:lnTo>
                  <a:lnTo>
                    <a:pt x="3106" y="4678"/>
                  </a:lnTo>
                  <a:lnTo>
                    <a:pt x="3048" y="4694"/>
                  </a:lnTo>
                  <a:lnTo>
                    <a:pt x="2992" y="4710"/>
                  </a:lnTo>
                  <a:lnTo>
                    <a:pt x="2934" y="4724"/>
                  </a:lnTo>
                  <a:lnTo>
                    <a:pt x="2876" y="4736"/>
                  </a:lnTo>
                  <a:lnTo>
                    <a:pt x="2818" y="4748"/>
                  </a:lnTo>
                  <a:lnTo>
                    <a:pt x="2758" y="4758"/>
                  </a:lnTo>
                  <a:lnTo>
                    <a:pt x="2698" y="4766"/>
                  </a:lnTo>
                  <a:lnTo>
                    <a:pt x="2638" y="4772"/>
                  </a:lnTo>
                  <a:lnTo>
                    <a:pt x="2578" y="4778"/>
                  </a:lnTo>
                  <a:lnTo>
                    <a:pt x="2516" y="4782"/>
                  </a:lnTo>
                  <a:lnTo>
                    <a:pt x="2456" y="4784"/>
                  </a:lnTo>
                  <a:lnTo>
                    <a:pt x="2394" y="4786"/>
                  </a:lnTo>
                  <a:lnTo>
                    <a:pt x="2394" y="4786"/>
                  </a:lnTo>
                  <a:lnTo>
                    <a:pt x="2332" y="4784"/>
                  </a:lnTo>
                  <a:lnTo>
                    <a:pt x="2270" y="4782"/>
                  </a:lnTo>
                  <a:lnTo>
                    <a:pt x="2210" y="4778"/>
                  </a:lnTo>
                  <a:lnTo>
                    <a:pt x="2148" y="4772"/>
                  </a:lnTo>
                  <a:lnTo>
                    <a:pt x="2088" y="4766"/>
                  </a:lnTo>
                  <a:lnTo>
                    <a:pt x="2030" y="4758"/>
                  </a:lnTo>
                  <a:lnTo>
                    <a:pt x="1970" y="4748"/>
                  </a:lnTo>
                  <a:lnTo>
                    <a:pt x="1912" y="4736"/>
                  </a:lnTo>
                  <a:lnTo>
                    <a:pt x="1854" y="4724"/>
                  </a:lnTo>
                  <a:lnTo>
                    <a:pt x="1796" y="4710"/>
                  </a:lnTo>
                  <a:lnTo>
                    <a:pt x="1738" y="4694"/>
                  </a:lnTo>
                  <a:lnTo>
                    <a:pt x="1682" y="4678"/>
                  </a:lnTo>
                  <a:lnTo>
                    <a:pt x="1626" y="4660"/>
                  </a:lnTo>
                  <a:lnTo>
                    <a:pt x="1570" y="4640"/>
                  </a:lnTo>
                  <a:lnTo>
                    <a:pt x="1516" y="4620"/>
                  </a:lnTo>
                  <a:lnTo>
                    <a:pt x="1462" y="4598"/>
                  </a:lnTo>
                  <a:lnTo>
                    <a:pt x="1408" y="4574"/>
                  </a:lnTo>
                  <a:lnTo>
                    <a:pt x="1356" y="4550"/>
                  </a:lnTo>
                  <a:lnTo>
                    <a:pt x="1304" y="4524"/>
                  </a:lnTo>
                  <a:lnTo>
                    <a:pt x="1252" y="4496"/>
                  </a:lnTo>
                  <a:lnTo>
                    <a:pt x="1202" y="4468"/>
                  </a:lnTo>
                  <a:lnTo>
                    <a:pt x="1152" y="4438"/>
                  </a:lnTo>
                  <a:lnTo>
                    <a:pt x="1104" y="4408"/>
                  </a:lnTo>
                  <a:lnTo>
                    <a:pt x="1056" y="4376"/>
                  </a:lnTo>
                  <a:lnTo>
                    <a:pt x="1008" y="4344"/>
                  </a:lnTo>
                  <a:lnTo>
                    <a:pt x="962" y="4310"/>
                  </a:lnTo>
                  <a:lnTo>
                    <a:pt x="916" y="4274"/>
                  </a:lnTo>
                  <a:lnTo>
                    <a:pt x="872" y="4238"/>
                  </a:lnTo>
                  <a:lnTo>
                    <a:pt x="828" y="4202"/>
                  </a:lnTo>
                  <a:lnTo>
                    <a:pt x="784" y="4164"/>
                  </a:lnTo>
                  <a:lnTo>
                    <a:pt x="742" y="4124"/>
                  </a:lnTo>
                  <a:lnTo>
                    <a:pt x="702" y="4084"/>
                  </a:lnTo>
                  <a:lnTo>
                    <a:pt x="662" y="4044"/>
                  </a:lnTo>
                  <a:lnTo>
                    <a:pt x="622" y="4002"/>
                  </a:lnTo>
                  <a:lnTo>
                    <a:pt x="584" y="3958"/>
                  </a:lnTo>
                  <a:lnTo>
                    <a:pt x="548" y="3914"/>
                  </a:lnTo>
                  <a:lnTo>
                    <a:pt x="512" y="3870"/>
                  </a:lnTo>
                  <a:lnTo>
                    <a:pt x="476" y="3824"/>
                  </a:lnTo>
                  <a:lnTo>
                    <a:pt x="442" y="3778"/>
                  </a:lnTo>
                  <a:lnTo>
                    <a:pt x="410" y="3730"/>
                  </a:lnTo>
                  <a:lnTo>
                    <a:pt x="378" y="3682"/>
                  </a:lnTo>
                  <a:lnTo>
                    <a:pt x="348" y="3634"/>
                  </a:lnTo>
                  <a:lnTo>
                    <a:pt x="318" y="3584"/>
                  </a:lnTo>
                  <a:lnTo>
                    <a:pt x="290" y="3534"/>
                  </a:lnTo>
                  <a:lnTo>
                    <a:pt x="262" y="3482"/>
                  </a:lnTo>
                  <a:lnTo>
                    <a:pt x="236" y="3430"/>
                  </a:lnTo>
                  <a:lnTo>
                    <a:pt x="212" y="3378"/>
                  </a:lnTo>
                  <a:lnTo>
                    <a:pt x="188" y="3324"/>
                  </a:lnTo>
                  <a:lnTo>
                    <a:pt x="166" y="3270"/>
                  </a:lnTo>
                  <a:lnTo>
                    <a:pt x="146" y="3216"/>
                  </a:lnTo>
                  <a:lnTo>
                    <a:pt x="126" y="3160"/>
                  </a:lnTo>
                  <a:lnTo>
                    <a:pt x="108" y="3104"/>
                  </a:lnTo>
                  <a:lnTo>
                    <a:pt x="92" y="3048"/>
                  </a:lnTo>
                  <a:lnTo>
                    <a:pt x="76" y="2990"/>
                  </a:lnTo>
                  <a:lnTo>
                    <a:pt x="62" y="2932"/>
                  </a:lnTo>
                  <a:lnTo>
                    <a:pt x="50" y="2874"/>
                  </a:lnTo>
                  <a:lnTo>
                    <a:pt x="38" y="2816"/>
                  </a:lnTo>
                  <a:lnTo>
                    <a:pt x="28" y="2756"/>
                  </a:lnTo>
                  <a:lnTo>
                    <a:pt x="20" y="2698"/>
                  </a:lnTo>
                  <a:lnTo>
                    <a:pt x="14" y="2638"/>
                  </a:lnTo>
                  <a:lnTo>
                    <a:pt x="8" y="2576"/>
                  </a:lnTo>
                  <a:lnTo>
                    <a:pt x="4" y="2516"/>
                  </a:lnTo>
                  <a:lnTo>
                    <a:pt x="2" y="2454"/>
                  </a:lnTo>
                  <a:lnTo>
                    <a:pt x="0" y="2392"/>
                  </a:lnTo>
                  <a:lnTo>
                    <a:pt x="0" y="2392"/>
                  </a:lnTo>
                  <a:lnTo>
                    <a:pt x="2" y="2330"/>
                  </a:lnTo>
                  <a:lnTo>
                    <a:pt x="4" y="2270"/>
                  </a:lnTo>
                  <a:lnTo>
                    <a:pt x="8" y="2208"/>
                  </a:lnTo>
                  <a:lnTo>
                    <a:pt x="14" y="2148"/>
                  </a:lnTo>
                  <a:lnTo>
                    <a:pt x="20" y="2088"/>
                  </a:lnTo>
                  <a:lnTo>
                    <a:pt x="28" y="2028"/>
                  </a:lnTo>
                  <a:lnTo>
                    <a:pt x="38" y="1968"/>
                  </a:lnTo>
                  <a:lnTo>
                    <a:pt x="50" y="1910"/>
                  </a:lnTo>
                  <a:lnTo>
                    <a:pt x="62" y="1852"/>
                  </a:lnTo>
                  <a:lnTo>
                    <a:pt x="76" y="1794"/>
                  </a:lnTo>
                  <a:lnTo>
                    <a:pt x="92" y="1738"/>
                  </a:lnTo>
                  <a:lnTo>
                    <a:pt x="108" y="1680"/>
                  </a:lnTo>
                  <a:lnTo>
                    <a:pt x="126" y="1626"/>
                  </a:lnTo>
                  <a:lnTo>
                    <a:pt x="146" y="1570"/>
                  </a:lnTo>
                  <a:lnTo>
                    <a:pt x="166" y="1516"/>
                  </a:lnTo>
                  <a:lnTo>
                    <a:pt x="188" y="1462"/>
                  </a:lnTo>
                  <a:lnTo>
                    <a:pt x="212" y="1408"/>
                  </a:lnTo>
                  <a:lnTo>
                    <a:pt x="236" y="1356"/>
                  </a:lnTo>
                  <a:lnTo>
                    <a:pt x="262" y="1304"/>
                  </a:lnTo>
                  <a:lnTo>
                    <a:pt x="290" y="1252"/>
                  </a:lnTo>
                  <a:lnTo>
                    <a:pt x="318" y="1202"/>
                  </a:lnTo>
                  <a:lnTo>
                    <a:pt x="348" y="1152"/>
                  </a:lnTo>
                  <a:lnTo>
                    <a:pt x="378" y="1102"/>
                  </a:lnTo>
                  <a:lnTo>
                    <a:pt x="410" y="1054"/>
                  </a:lnTo>
                  <a:lnTo>
                    <a:pt x="442" y="1008"/>
                  </a:lnTo>
                  <a:lnTo>
                    <a:pt x="476" y="960"/>
                  </a:lnTo>
                  <a:lnTo>
                    <a:pt x="512" y="916"/>
                  </a:lnTo>
                  <a:lnTo>
                    <a:pt x="548" y="870"/>
                  </a:lnTo>
                  <a:lnTo>
                    <a:pt x="584" y="826"/>
                  </a:lnTo>
                  <a:lnTo>
                    <a:pt x="622" y="784"/>
                  </a:lnTo>
                  <a:lnTo>
                    <a:pt x="662" y="742"/>
                  </a:lnTo>
                  <a:lnTo>
                    <a:pt x="702" y="700"/>
                  </a:lnTo>
                  <a:lnTo>
                    <a:pt x="742" y="660"/>
                  </a:lnTo>
                  <a:lnTo>
                    <a:pt x="784" y="622"/>
                  </a:lnTo>
                  <a:lnTo>
                    <a:pt x="828" y="584"/>
                  </a:lnTo>
                  <a:lnTo>
                    <a:pt x="872" y="546"/>
                  </a:lnTo>
                  <a:lnTo>
                    <a:pt x="916" y="510"/>
                  </a:lnTo>
                  <a:lnTo>
                    <a:pt x="962" y="476"/>
                  </a:lnTo>
                  <a:lnTo>
                    <a:pt x="1008" y="442"/>
                  </a:lnTo>
                  <a:lnTo>
                    <a:pt x="1056" y="408"/>
                  </a:lnTo>
                  <a:lnTo>
                    <a:pt x="1104" y="376"/>
                  </a:lnTo>
                  <a:lnTo>
                    <a:pt x="1152" y="346"/>
                  </a:lnTo>
                  <a:lnTo>
                    <a:pt x="1202" y="316"/>
                  </a:lnTo>
                  <a:lnTo>
                    <a:pt x="1252" y="288"/>
                  </a:lnTo>
                  <a:lnTo>
                    <a:pt x="1304" y="262"/>
                  </a:lnTo>
                  <a:lnTo>
                    <a:pt x="1356" y="236"/>
                  </a:lnTo>
                  <a:lnTo>
                    <a:pt x="1408" y="212"/>
                  </a:lnTo>
                  <a:lnTo>
                    <a:pt x="1462" y="188"/>
                  </a:lnTo>
                  <a:lnTo>
                    <a:pt x="1516" y="166"/>
                  </a:lnTo>
                  <a:lnTo>
                    <a:pt x="1570" y="144"/>
                  </a:lnTo>
                  <a:lnTo>
                    <a:pt x="1626" y="126"/>
                  </a:lnTo>
                  <a:lnTo>
                    <a:pt x="1682" y="108"/>
                  </a:lnTo>
                  <a:lnTo>
                    <a:pt x="1738" y="90"/>
                  </a:lnTo>
                  <a:lnTo>
                    <a:pt x="1796" y="74"/>
                  </a:lnTo>
                  <a:lnTo>
                    <a:pt x="1854" y="60"/>
                  </a:lnTo>
                  <a:lnTo>
                    <a:pt x="1912" y="48"/>
                  </a:lnTo>
                  <a:lnTo>
                    <a:pt x="1970" y="38"/>
                  </a:lnTo>
                  <a:lnTo>
                    <a:pt x="2030" y="28"/>
                  </a:lnTo>
                  <a:lnTo>
                    <a:pt x="2088" y="18"/>
                  </a:lnTo>
                  <a:lnTo>
                    <a:pt x="2148" y="12"/>
                  </a:lnTo>
                  <a:lnTo>
                    <a:pt x="2210" y="6"/>
                  </a:lnTo>
                  <a:lnTo>
                    <a:pt x="2270" y="2"/>
                  </a:lnTo>
                  <a:lnTo>
                    <a:pt x="2332" y="0"/>
                  </a:lnTo>
                  <a:lnTo>
                    <a:pt x="2394" y="0"/>
                  </a:lnTo>
                  <a:lnTo>
                    <a:pt x="2394" y="0"/>
                  </a:lnTo>
                  <a:lnTo>
                    <a:pt x="2456" y="0"/>
                  </a:lnTo>
                  <a:lnTo>
                    <a:pt x="2516" y="2"/>
                  </a:lnTo>
                  <a:lnTo>
                    <a:pt x="2578" y="6"/>
                  </a:lnTo>
                  <a:lnTo>
                    <a:pt x="2638" y="12"/>
                  </a:lnTo>
                  <a:lnTo>
                    <a:pt x="2698" y="18"/>
                  </a:lnTo>
                  <a:lnTo>
                    <a:pt x="2758" y="28"/>
                  </a:lnTo>
                  <a:lnTo>
                    <a:pt x="2818" y="38"/>
                  </a:lnTo>
                  <a:lnTo>
                    <a:pt x="2876" y="48"/>
                  </a:lnTo>
                  <a:lnTo>
                    <a:pt x="2934" y="60"/>
                  </a:lnTo>
                  <a:lnTo>
                    <a:pt x="2992" y="74"/>
                  </a:lnTo>
                  <a:lnTo>
                    <a:pt x="3048" y="90"/>
                  </a:lnTo>
                  <a:lnTo>
                    <a:pt x="3106" y="108"/>
                  </a:lnTo>
                  <a:lnTo>
                    <a:pt x="3160" y="126"/>
                  </a:lnTo>
                  <a:lnTo>
                    <a:pt x="3216" y="144"/>
                  </a:lnTo>
                  <a:lnTo>
                    <a:pt x="3270" y="166"/>
                  </a:lnTo>
                  <a:lnTo>
                    <a:pt x="3324" y="188"/>
                  </a:lnTo>
                  <a:lnTo>
                    <a:pt x="3378" y="212"/>
                  </a:lnTo>
                  <a:lnTo>
                    <a:pt x="3430" y="236"/>
                  </a:lnTo>
                  <a:lnTo>
                    <a:pt x="3482" y="262"/>
                  </a:lnTo>
                  <a:lnTo>
                    <a:pt x="3534" y="288"/>
                  </a:lnTo>
                  <a:lnTo>
                    <a:pt x="3584" y="316"/>
                  </a:lnTo>
                  <a:lnTo>
                    <a:pt x="3634" y="346"/>
                  </a:lnTo>
                  <a:lnTo>
                    <a:pt x="3684" y="376"/>
                  </a:lnTo>
                  <a:lnTo>
                    <a:pt x="3732" y="408"/>
                  </a:lnTo>
                  <a:lnTo>
                    <a:pt x="3778" y="442"/>
                  </a:lnTo>
                  <a:lnTo>
                    <a:pt x="3826" y="476"/>
                  </a:lnTo>
                  <a:lnTo>
                    <a:pt x="3870" y="510"/>
                  </a:lnTo>
                  <a:lnTo>
                    <a:pt x="3916" y="546"/>
                  </a:lnTo>
                  <a:lnTo>
                    <a:pt x="3960" y="584"/>
                  </a:lnTo>
                  <a:lnTo>
                    <a:pt x="4002" y="622"/>
                  </a:lnTo>
                  <a:lnTo>
                    <a:pt x="4044" y="660"/>
                  </a:lnTo>
                  <a:lnTo>
                    <a:pt x="4086" y="700"/>
                  </a:lnTo>
                  <a:lnTo>
                    <a:pt x="4126" y="742"/>
                  </a:lnTo>
                  <a:lnTo>
                    <a:pt x="4164" y="784"/>
                  </a:lnTo>
                  <a:lnTo>
                    <a:pt x="4202" y="826"/>
                  </a:lnTo>
                  <a:lnTo>
                    <a:pt x="4240" y="870"/>
                  </a:lnTo>
                  <a:lnTo>
                    <a:pt x="4276" y="916"/>
                  </a:lnTo>
                  <a:lnTo>
                    <a:pt x="4310" y="960"/>
                  </a:lnTo>
                  <a:lnTo>
                    <a:pt x="4344" y="1008"/>
                  </a:lnTo>
                  <a:lnTo>
                    <a:pt x="4378" y="1054"/>
                  </a:lnTo>
                  <a:lnTo>
                    <a:pt x="4410" y="1102"/>
                  </a:lnTo>
                  <a:lnTo>
                    <a:pt x="4440" y="1152"/>
                  </a:lnTo>
                  <a:lnTo>
                    <a:pt x="4470" y="1202"/>
                  </a:lnTo>
                  <a:lnTo>
                    <a:pt x="4498" y="1252"/>
                  </a:lnTo>
                  <a:lnTo>
                    <a:pt x="4524" y="1304"/>
                  </a:lnTo>
                  <a:lnTo>
                    <a:pt x="4550" y="1356"/>
                  </a:lnTo>
                  <a:lnTo>
                    <a:pt x="4574" y="1408"/>
                  </a:lnTo>
                  <a:lnTo>
                    <a:pt x="4598" y="1462"/>
                  </a:lnTo>
                  <a:lnTo>
                    <a:pt x="4620" y="1516"/>
                  </a:lnTo>
                  <a:lnTo>
                    <a:pt x="4642" y="1570"/>
                  </a:lnTo>
                  <a:lnTo>
                    <a:pt x="4660" y="1626"/>
                  </a:lnTo>
                  <a:lnTo>
                    <a:pt x="4678" y="1680"/>
                  </a:lnTo>
                  <a:lnTo>
                    <a:pt x="4696" y="1738"/>
                  </a:lnTo>
                  <a:lnTo>
                    <a:pt x="4712" y="1794"/>
                  </a:lnTo>
                  <a:lnTo>
                    <a:pt x="4726" y="1852"/>
                  </a:lnTo>
                  <a:lnTo>
                    <a:pt x="4738" y="1910"/>
                  </a:lnTo>
                  <a:lnTo>
                    <a:pt x="4748" y="1968"/>
                  </a:lnTo>
                  <a:lnTo>
                    <a:pt x="4758" y="2028"/>
                  </a:lnTo>
                  <a:lnTo>
                    <a:pt x="4768" y="2088"/>
                  </a:lnTo>
                  <a:lnTo>
                    <a:pt x="4774" y="2148"/>
                  </a:lnTo>
                  <a:lnTo>
                    <a:pt x="4780" y="2208"/>
                  </a:lnTo>
                  <a:lnTo>
                    <a:pt x="4784" y="2270"/>
                  </a:lnTo>
                  <a:lnTo>
                    <a:pt x="4786" y="2330"/>
                  </a:lnTo>
                  <a:lnTo>
                    <a:pt x="4786" y="2392"/>
                  </a:lnTo>
                  <a:lnTo>
                    <a:pt x="4786" y="2392"/>
                  </a:ln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139" name="Freeform 71"/>
            <p:cNvSpPr/>
            <p:nvPr/>
          </p:nvSpPr>
          <p:spPr bwMode="auto">
            <a:xfrm>
              <a:off x="7097713" y="-1509713"/>
              <a:ext cx="933450" cy="2314575"/>
            </a:xfrm>
            <a:custGeom>
              <a:avLst/>
              <a:gdLst/>
              <a:ahLst/>
              <a:cxnLst>
                <a:cxn ang="0">
                  <a:pos x="306" y="0"/>
                </a:cxn>
                <a:cxn ang="0">
                  <a:pos x="306" y="0"/>
                </a:cxn>
                <a:cxn ang="0">
                  <a:pos x="270" y="24"/>
                </a:cxn>
                <a:cxn ang="0">
                  <a:pos x="236" y="46"/>
                </a:cxn>
                <a:cxn ang="0">
                  <a:pos x="198" y="68"/>
                </a:cxn>
                <a:cxn ang="0">
                  <a:pos x="160" y="86"/>
                </a:cxn>
                <a:cxn ang="0">
                  <a:pos x="122" y="104"/>
                </a:cxn>
                <a:cxn ang="0">
                  <a:pos x="82" y="120"/>
                </a:cxn>
                <a:cxn ang="0">
                  <a:pos x="40" y="132"/>
                </a:cxn>
                <a:cxn ang="0">
                  <a:pos x="0" y="144"/>
                </a:cxn>
                <a:cxn ang="0">
                  <a:pos x="0" y="144"/>
                </a:cxn>
                <a:cxn ang="0">
                  <a:pos x="32" y="160"/>
                </a:cxn>
                <a:cxn ang="0">
                  <a:pos x="64" y="178"/>
                </a:cxn>
                <a:cxn ang="0">
                  <a:pos x="92" y="198"/>
                </a:cxn>
                <a:cxn ang="0">
                  <a:pos x="122" y="222"/>
                </a:cxn>
                <a:cxn ang="0">
                  <a:pos x="148" y="246"/>
                </a:cxn>
                <a:cxn ang="0">
                  <a:pos x="172" y="272"/>
                </a:cxn>
                <a:cxn ang="0">
                  <a:pos x="196" y="300"/>
                </a:cxn>
                <a:cxn ang="0">
                  <a:pos x="216" y="328"/>
                </a:cxn>
                <a:cxn ang="0">
                  <a:pos x="236" y="360"/>
                </a:cxn>
                <a:cxn ang="0">
                  <a:pos x="252" y="392"/>
                </a:cxn>
                <a:cxn ang="0">
                  <a:pos x="266" y="424"/>
                </a:cxn>
                <a:cxn ang="0">
                  <a:pos x="278" y="460"/>
                </a:cxn>
                <a:cxn ang="0">
                  <a:pos x="288" y="496"/>
                </a:cxn>
                <a:cxn ang="0">
                  <a:pos x="294" y="532"/>
                </a:cxn>
                <a:cxn ang="0">
                  <a:pos x="300" y="570"/>
                </a:cxn>
                <a:cxn ang="0">
                  <a:pos x="300" y="608"/>
                </a:cxn>
                <a:cxn ang="0">
                  <a:pos x="300" y="1458"/>
                </a:cxn>
                <a:cxn ang="0">
                  <a:pos x="588" y="1458"/>
                </a:cxn>
                <a:cxn ang="0">
                  <a:pos x="588" y="608"/>
                </a:cxn>
                <a:cxn ang="0">
                  <a:pos x="588" y="608"/>
                </a:cxn>
                <a:cxn ang="0">
                  <a:pos x="586" y="562"/>
                </a:cxn>
                <a:cxn ang="0">
                  <a:pos x="584" y="518"/>
                </a:cxn>
                <a:cxn ang="0">
                  <a:pos x="576" y="474"/>
                </a:cxn>
                <a:cxn ang="0">
                  <a:pos x="568" y="430"/>
                </a:cxn>
                <a:cxn ang="0">
                  <a:pos x="558" y="388"/>
                </a:cxn>
                <a:cxn ang="0">
                  <a:pos x="544" y="348"/>
                </a:cxn>
                <a:cxn ang="0">
                  <a:pos x="528" y="308"/>
                </a:cxn>
                <a:cxn ang="0">
                  <a:pos x="512" y="268"/>
                </a:cxn>
                <a:cxn ang="0">
                  <a:pos x="492" y="230"/>
                </a:cxn>
                <a:cxn ang="0">
                  <a:pos x="470" y="192"/>
                </a:cxn>
                <a:cxn ang="0">
                  <a:pos x="448" y="158"/>
                </a:cxn>
                <a:cxn ang="0">
                  <a:pos x="422" y="122"/>
                </a:cxn>
                <a:cxn ang="0">
                  <a:pos x="396" y="90"/>
                </a:cxn>
                <a:cxn ang="0">
                  <a:pos x="368" y="58"/>
                </a:cxn>
                <a:cxn ang="0">
                  <a:pos x="336" y="28"/>
                </a:cxn>
                <a:cxn ang="0">
                  <a:pos x="306" y="0"/>
                </a:cxn>
                <a:cxn ang="0">
                  <a:pos x="306" y="0"/>
                </a:cxn>
              </a:cxnLst>
              <a:rect l="0" t="0" r="r" b="b"/>
              <a:pathLst>
                <a:path w="588" h="1458">
                  <a:moveTo>
                    <a:pt x="306" y="0"/>
                  </a:moveTo>
                  <a:lnTo>
                    <a:pt x="306" y="0"/>
                  </a:lnTo>
                  <a:lnTo>
                    <a:pt x="270" y="24"/>
                  </a:lnTo>
                  <a:lnTo>
                    <a:pt x="236" y="46"/>
                  </a:lnTo>
                  <a:lnTo>
                    <a:pt x="198" y="68"/>
                  </a:lnTo>
                  <a:lnTo>
                    <a:pt x="160" y="86"/>
                  </a:lnTo>
                  <a:lnTo>
                    <a:pt x="122" y="104"/>
                  </a:lnTo>
                  <a:lnTo>
                    <a:pt x="82" y="120"/>
                  </a:lnTo>
                  <a:lnTo>
                    <a:pt x="40" y="132"/>
                  </a:lnTo>
                  <a:lnTo>
                    <a:pt x="0" y="144"/>
                  </a:lnTo>
                  <a:lnTo>
                    <a:pt x="0" y="144"/>
                  </a:lnTo>
                  <a:lnTo>
                    <a:pt x="32" y="160"/>
                  </a:lnTo>
                  <a:lnTo>
                    <a:pt x="64" y="178"/>
                  </a:lnTo>
                  <a:lnTo>
                    <a:pt x="92" y="198"/>
                  </a:lnTo>
                  <a:lnTo>
                    <a:pt x="122" y="222"/>
                  </a:lnTo>
                  <a:lnTo>
                    <a:pt x="148" y="246"/>
                  </a:lnTo>
                  <a:lnTo>
                    <a:pt x="172" y="272"/>
                  </a:lnTo>
                  <a:lnTo>
                    <a:pt x="196" y="300"/>
                  </a:lnTo>
                  <a:lnTo>
                    <a:pt x="216" y="328"/>
                  </a:lnTo>
                  <a:lnTo>
                    <a:pt x="236" y="360"/>
                  </a:lnTo>
                  <a:lnTo>
                    <a:pt x="252" y="392"/>
                  </a:lnTo>
                  <a:lnTo>
                    <a:pt x="266" y="424"/>
                  </a:lnTo>
                  <a:lnTo>
                    <a:pt x="278" y="460"/>
                  </a:lnTo>
                  <a:lnTo>
                    <a:pt x="288" y="496"/>
                  </a:lnTo>
                  <a:lnTo>
                    <a:pt x="294" y="532"/>
                  </a:lnTo>
                  <a:lnTo>
                    <a:pt x="300" y="570"/>
                  </a:lnTo>
                  <a:lnTo>
                    <a:pt x="300" y="608"/>
                  </a:lnTo>
                  <a:lnTo>
                    <a:pt x="300" y="1458"/>
                  </a:lnTo>
                  <a:lnTo>
                    <a:pt x="588" y="1458"/>
                  </a:lnTo>
                  <a:lnTo>
                    <a:pt x="588" y="608"/>
                  </a:lnTo>
                  <a:lnTo>
                    <a:pt x="588" y="608"/>
                  </a:lnTo>
                  <a:lnTo>
                    <a:pt x="586" y="562"/>
                  </a:lnTo>
                  <a:lnTo>
                    <a:pt x="584" y="518"/>
                  </a:lnTo>
                  <a:lnTo>
                    <a:pt x="576" y="474"/>
                  </a:lnTo>
                  <a:lnTo>
                    <a:pt x="568" y="430"/>
                  </a:lnTo>
                  <a:lnTo>
                    <a:pt x="558" y="388"/>
                  </a:lnTo>
                  <a:lnTo>
                    <a:pt x="544" y="348"/>
                  </a:lnTo>
                  <a:lnTo>
                    <a:pt x="528" y="308"/>
                  </a:lnTo>
                  <a:lnTo>
                    <a:pt x="512" y="268"/>
                  </a:lnTo>
                  <a:lnTo>
                    <a:pt x="492" y="230"/>
                  </a:lnTo>
                  <a:lnTo>
                    <a:pt x="470" y="192"/>
                  </a:lnTo>
                  <a:lnTo>
                    <a:pt x="448" y="158"/>
                  </a:lnTo>
                  <a:lnTo>
                    <a:pt x="422" y="122"/>
                  </a:lnTo>
                  <a:lnTo>
                    <a:pt x="396" y="90"/>
                  </a:lnTo>
                  <a:lnTo>
                    <a:pt x="368" y="58"/>
                  </a:lnTo>
                  <a:lnTo>
                    <a:pt x="336" y="28"/>
                  </a:lnTo>
                  <a:lnTo>
                    <a:pt x="306" y="0"/>
                  </a:lnTo>
                  <a:lnTo>
                    <a:pt x="306"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0" name="Freeform 72"/>
            <p:cNvSpPr/>
            <p:nvPr/>
          </p:nvSpPr>
          <p:spPr bwMode="auto">
            <a:xfrm>
              <a:off x="5500688" y="-3967163"/>
              <a:ext cx="936625" cy="2314575"/>
            </a:xfrm>
            <a:custGeom>
              <a:avLst/>
              <a:gdLst/>
              <a:ahLst/>
              <a:cxnLst>
                <a:cxn ang="0">
                  <a:pos x="284" y="1458"/>
                </a:cxn>
                <a:cxn ang="0">
                  <a:pos x="284" y="1458"/>
                </a:cxn>
                <a:cxn ang="0">
                  <a:pos x="318" y="1434"/>
                </a:cxn>
                <a:cxn ang="0">
                  <a:pos x="354" y="1410"/>
                </a:cxn>
                <a:cxn ang="0">
                  <a:pos x="390" y="1390"/>
                </a:cxn>
                <a:cxn ang="0">
                  <a:pos x="428" y="1372"/>
                </a:cxn>
                <a:cxn ang="0">
                  <a:pos x="468" y="1354"/>
                </a:cxn>
                <a:cxn ang="0">
                  <a:pos x="508" y="1338"/>
                </a:cxn>
                <a:cxn ang="0">
                  <a:pos x="548" y="1326"/>
                </a:cxn>
                <a:cxn ang="0">
                  <a:pos x="590" y="1314"/>
                </a:cxn>
                <a:cxn ang="0">
                  <a:pos x="590" y="1314"/>
                </a:cxn>
                <a:cxn ang="0">
                  <a:pos x="558" y="1298"/>
                </a:cxn>
                <a:cxn ang="0">
                  <a:pos x="526" y="1280"/>
                </a:cxn>
                <a:cxn ang="0">
                  <a:pos x="496" y="1260"/>
                </a:cxn>
                <a:cxn ang="0">
                  <a:pos x="468" y="1236"/>
                </a:cxn>
                <a:cxn ang="0">
                  <a:pos x="442" y="1212"/>
                </a:cxn>
                <a:cxn ang="0">
                  <a:pos x="416" y="1186"/>
                </a:cxn>
                <a:cxn ang="0">
                  <a:pos x="394" y="1158"/>
                </a:cxn>
                <a:cxn ang="0">
                  <a:pos x="372" y="1130"/>
                </a:cxn>
                <a:cxn ang="0">
                  <a:pos x="354" y="1098"/>
                </a:cxn>
                <a:cxn ang="0">
                  <a:pos x="338" y="1066"/>
                </a:cxn>
                <a:cxn ang="0">
                  <a:pos x="322" y="1032"/>
                </a:cxn>
                <a:cxn ang="0">
                  <a:pos x="310" y="998"/>
                </a:cxn>
                <a:cxn ang="0">
                  <a:pos x="302" y="962"/>
                </a:cxn>
                <a:cxn ang="0">
                  <a:pos x="294" y="926"/>
                </a:cxn>
                <a:cxn ang="0">
                  <a:pos x="290" y="888"/>
                </a:cxn>
                <a:cxn ang="0">
                  <a:pos x="288" y="850"/>
                </a:cxn>
                <a:cxn ang="0">
                  <a:pos x="288" y="0"/>
                </a:cxn>
                <a:cxn ang="0">
                  <a:pos x="0" y="0"/>
                </a:cxn>
                <a:cxn ang="0">
                  <a:pos x="0" y="850"/>
                </a:cxn>
                <a:cxn ang="0">
                  <a:pos x="0" y="850"/>
                </a:cxn>
                <a:cxn ang="0">
                  <a:pos x="2" y="894"/>
                </a:cxn>
                <a:cxn ang="0">
                  <a:pos x="6" y="940"/>
                </a:cxn>
                <a:cxn ang="0">
                  <a:pos x="12" y="984"/>
                </a:cxn>
                <a:cxn ang="0">
                  <a:pos x="20" y="1026"/>
                </a:cxn>
                <a:cxn ang="0">
                  <a:pos x="32" y="1070"/>
                </a:cxn>
                <a:cxn ang="0">
                  <a:pos x="44" y="1110"/>
                </a:cxn>
                <a:cxn ang="0">
                  <a:pos x="60" y="1150"/>
                </a:cxn>
                <a:cxn ang="0">
                  <a:pos x="78" y="1190"/>
                </a:cxn>
                <a:cxn ang="0">
                  <a:pos x="96" y="1228"/>
                </a:cxn>
                <a:cxn ang="0">
                  <a:pos x="118" y="1266"/>
                </a:cxn>
                <a:cxn ang="0">
                  <a:pos x="142" y="1300"/>
                </a:cxn>
                <a:cxn ang="0">
                  <a:pos x="166" y="1336"/>
                </a:cxn>
                <a:cxn ang="0">
                  <a:pos x="194" y="1368"/>
                </a:cxn>
                <a:cxn ang="0">
                  <a:pos x="222" y="1400"/>
                </a:cxn>
                <a:cxn ang="0">
                  <a:pos x="252" y="1430"/>
                </a:cxn>
                <a:cxn ang="0">
                  <a:pos x="284" y="1458"/>
                </a:cxn>
                <a:cxn ang="0">
                  <a:pos x="284" y="1458"/>
                </a:cxn>
              </a:cxnLst>
              <a:rect l="0" t="0" r="r" b="b"/>
              <a:pathLst>
                <a:path w="590" h="1458">
                  <a:moveTo>
                    <a:pt x="284" y="1458"/>
                  </a:moveTo>
                  <a:lnTo>
                    <a:pt x="284" y="1458"/>
                  </a:lnTo>
                  <a:lnTo>
                    <a:pt x="318" y="1434"/>
                  </a:lnTo>
                  <a:lnTo>
                    <a:pt x="354" y="1410"/>
                  </a:lnTo>
                  <a:lnTo>
                    <a:pt x="390" y="1390"/>
                  </a:lnTo>
                  <a:lnTo>
                    <a:pt x="428" y="1372"/>
                  </a:lnTo>
                  <a:lnTo>
                    <a:pt x="468" y="1354"/>
                  </a:lnTo>
                  <a:lnTo>
                    <a:pt x="508" y="1338"/>
                  </a:lnTo>
                  <a:lnTo>
                    <a:pt x="548" y="1326"/>
                  </a:lnTo>
                  <a:lnTo>
                    <a:pt x="590" y="1314"/>
                  </a:lnTo>
                  <a:lnTo>
                    <a:pt x="590" y="1314"/>
                  </a:lnTo>
                  <a:lnTo>
                    <a:pt x="558" y="1298"/>
                  </a:lnTo>
                  <a:lnTo>
                    <a:pt x="526" y="1280"/>
                  </a:lnTo>
                  <a:lnTo>
                    <a:pt x="496" y="1260"/>
                  </a:lnTo>
                  <a:lnTo>
                    <a:pt x="468" y="1236"/>
                  </a:lnTo>
                  <a:lnTo>
                    <a:pt x="442" y="1212"/>
                  </a:lnTo>
                  <a:lnTo>
                    <a:pt x="416" y="1186"/>
                  </a:lnTo>
                  <a:lnTo>
                    <a:pt x="394" y="1158"/>
                  </a:lnTo>
                  <a:lnTo>
                    <a:pt x="372" y="1130"/>
                  </a:lnTo>
                  <a:lnTo>
                    <a:pt x="354" y="1098"/>
                  </a:lnTo>
                  <a:lnTo>
                    <a:pt x="338" y="1066"/>
                  </a:lnTo>
                  <a:lnTo>
                    <a:pt x="322" y="1032"/>
                  </a:lnTo>
                  <a:lnTo>
                    <a:pt x="310" y="998"/>
                  </a:lnTo>
                  <a:lnTo>
                    <a:pt x="302" y="962"/>
                  </a:lnTo>
                  <a:lnTo>
                    <a:pt x="294" y="926"/>
                  </a:lnTo>
                  <a:lnTo>
                    <a:pt x="290" y="888"/>
                  </a:lnTo>
                  <a:lnTo>
                    <a:pt x="288" y="850"/>
                  </a:lnTo>
                  <a:lnTo>
                    <a:pt x="288" y="0"/>
                  </a:lnTo>
                  <a:lnTo>
                    <a:pt x="0" y="0"/>
                  </a:lnTo>
                  <a:lnTo>
                    <a:pt x="0" y="850"/>
                  </a:lnTo>
                  <a:lnTo>
                    <a:pt x="0" y="850"/>
                  </a:lnTo>
                  <a:lnTo>
                    <a:pt x="2" y="894"/>
                  </a:lnTo>
                  <a:lnTo>
                    <a:pt x="6" y="940"/>
                  </a:lnTo>
                  <a:lnTo>
                    <a:pt x="12" y="984"/>
                  </a:lnTo>
                  <a:lnTo>
                    <a:pt x="20" y="1026"/>
                  </a:lnTo>
                  <a:lnTo>
                    <a:pt x="32" y="1070"/>
                  </a:lnTo>
                  <a:lnTo>
                    <a:pt x="44" y="1110"/>
                  </a:lnTo>
                  <a:lnTo>
                    <a:pt x="60" y="1150"/>
                  </a:lnTo>
                  <a:lnTo>
                    <a:pt x="78" y="1190"/>
                  </a:lnTo>
                  <a:lnTo>
                    <a:pt x="96" y="1228"/>
                  </a:lnTo>
                  <a:lnTo>
                    <a:pt x="118" y="1266"/>
                  </a:lnTo>
                  <a:lnTo>
                    <a:pt x="142" y="1300"/>
                  </a:lnTo>
                  <a:lnTo>
                    <a:pt x="166" y="1336"/>
                  </a:lnTo>
                  <a:lnTo>
                    <a:pt x="194" y="1368"/>
                  </a:lnTo>
                  <a:lnTo>
                    <a:pt x="222" y="1400"/>
                  </a:lnTo>
                  <a:lnTo>
                    <a:pt x="252" y="1430"/>
                  </a:lnTo>
                  <a:lnTo>
                    <a:pt x="284" y="1458"/>
                  </a:lnTo>
                  <a:lnTo>
                    <a:pt x="284" y="1458"/>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1" name="Freeform 73"/>
            <p:cNvSpPr/>
            <p:nvPr/>
          </p:nvSpPr>
          <p:spPr bwMode="auto">
            <a:xfrm>
              <a:off x="5500684" y="-3967162"/>
              <a:ext cx="2530475" cy="4772027"/>
            </a:xfrm>
            <a:custGeom>
              <a:avLst/>
              <a:gdLst/>
              <a:ahLst/>
              <a:cxnLst>
                <a:cxn ang="0">
                  <a:pos x="1306" y="0"/>
                </a:cxn>
                <a:cxn ang="0">
                  <a:pos x="1306" y="874"/>
                </a:cxn>
                <a:cxn ang="0">
                  <a:pos x="1302" y="918"/>
                </a:cxn>
                <a:cxn ang="0">
                  <a:pos x="1292" y="966"/>
                </a:cxn>
                <a:cxn ang="0">
                  <a:pos x="1262" y="1056"/>
                </a:cxn>
                <a:cxn ang="0">
                  <a:pos x="1218" y="1136"/>
                </a:cxn>
                <a:cxn ang="0">
                  <a:pos x="1160" y="1206"/>
                </a:cxn>
                <a:cxn ang="0">
                  <a:pos x="1092" y="1264"/>
                </a:cxn>
                <a:cxn ang="0">
                  <a:pos x="1014" y="1310"/>
                </a:cxn>
                <a:cxn ang="0">
                  <a:pos x="932" y="1340"/>
                </a:cxn>
                <a:cxn ang="0">
                  <a:pos x="842" y="1356"/>
                </a:cxn>
                <a:cxn ang="0">
                  <a:pos x="798" y="1360"/>
                </a:cxn>
                <a:cxn ang="0">
                  <a:pos x="756" y="1360"/>
                </a:cxn>
                <a:cxn ang="0">
                  <a:pos x="676" y="1368"/>
                </a:cxn>
                <a:cxn ang="0">
                  <a:pos x="598" y="1384"/>
                </a:cxn>
                <a:cxn ang="0">
                  <a:pos x="524" y="1408"/>
                </a:cxn>
                <a:cxn ang="0">
                  <a:pos x="452" y="1438"/>
                </a:cxn>
                <a:cxn ang="0">
                  <a:pos x="384" y="1476"/>
                </a:cxn>
                <a:cxn ang="0">
                  <a:pos x="320" y="1520"/>
                </a:cxn>
                <a:cxn ang="0">
                  <a:pos x="262" y="1568"/>
                </a:cxn>
                <a:cxn ang="0">
                  <a:pos x="208" y="1622"/>
                </a:cxn>
                <a:cxn ang="0">
                  <a:pos x="158" y="1682"/>
                </a:cxn>
                <a:cxn ang="0">
                  <a:pos x="116" y="1746"/>
                </a:cxn>
                <a:cxn ang="0">
                  <a:pos x="80" y="1812"/>
                </a:cxn>
                <a:cxn ang="0">
                  <a:pos x="50" y="1884"/>
                </a:cxn>
                <a:cxn ang="0">
                  <a:pos x="26" y="1958"/>
                </a:cxn>
                <a:cxn ang="0">
                  <a:pos x="10" y="2036"/>
                </a:cxn>
                <a:cxn ang="0">
                  <a:pos x="2" y="2116"/>
                </a:cxn>
                <a:cxn ang="0">
                  <a:pos x="0" y="3006"/>
                </a:cxn>
                <a:cxn ang="0">
                  <a:pos x="288" y="2156"/>
                </a:cxn>
                <a:cxn ang="0">
                  <a:pos x="290" y="2130"/>
                </a:cxn>
                <a:cxn ang="0">
                  <a:pos x="294" y="2078"/>
                </a:cxn>
                <a:cxn ang="0">
                  <a:pos x="304" y="2028"/>
                </a:cxn>
                <a:cxn ang="0">
                  <a:pos x="320" y="1980"/>
                </a:cxn>
                <a:cxn ang="0">
                  <a:pos x="340" y="1934"/>
                </a:cxn>
                <a:cxn ang="0">
                  <a:pos x="376" y="1870"/>
                </a:cxn>
                <a:cxn ang="0">
                  <a:pos x="440" y="1796"/>
                </a:cxn>
                <a:cxn ang="0">
                  <a:pos x="516" y="1734"/>
                </a:cxn>
                <a:cxn ang="0">
                  <a:pos x="602" y="1686"/>
                </a:cxn>
                <a:cxn ang="0">
                  <a:pos x="648" y="1670"/>
                </a:cxn>
                <a:cxn ang="0">
                  <a:pos x="696" y="1658"/>
                </a:cxn>
                <a:cxn ang="0">
                  <a:pos x="746" y="1650"/>
                </a:cxn>
                <a:cxn ang="0">
                  <a:pos x="798" y="1648"/>
                </a:cxn>
                <a:cxn ang="0">
                  <a:pos x="798" y="1646"/>
                </a:cxn>
                <a:cxn ang="0">
                  <a:pos x="880" y="1642"/>
                </a:cxn>
                <a:cxn ang="0">
                  <a:pos x="960" y="1630"/>
                </a:cxn>
                <a:cxn ang="0">
                  <a:pos x="1036" y="1610"/>
                </a:cxn>
                <a:cxn ang="0">
                  <a:pos x="1110" y="1582"/>
                </a:cxn>
                <a:cxn ang="0">
                  <a:pos x="1180" y="1548"/>
                </a:cxn>
                <a:cxn ang="0">
                  <a:pos x="1246" y="1508"/>
                </a:cxn>
                <a:cxn ang="0">
                  <a:pos x="1306" y="1462"/>
                </a:cxn>
                <a:cxn ang="0">
                  <a:pos x="1362" y="1410"/>
                </a:cxn>
                <a:cxn ang="0">
                  <a:pos x="1414" y="1352"/>
                </a:cxn>
                <a:cxn ang="0">
                  <a:pos x="1460" y="1290"/>
                </a:cxn>
                <a:cxn ang="0">
                  <a:pos x="1500" y="1226"/>
                </a:cxn>
                <a:cxn ang="0">
                  <a:pos x="1532" y="1156"/>
                </a:cxn>
                <a:cxn ang="0">
                  <a:pos x="1558" y="1084"/>
                </a:cxn>
                <a:cxn ang="0">
                  <a:pos x="1578" y="1008"/>
                </a:cxn>
                <a:cxn ang="0">
                  <a:pos x="1590" y="930"/>
                </a:cxn>
                <a:cxn ang="0">
                  <a:pos x="1594" y="850"/>
                </a:cxn>
                <a:cxn ang="0">
                  <a:pos x="1306" y="0"/>
                </a:cxn>
              </a:cxnLst>
              <a:rect l="0" t="0" r="r" b="b"/>
              <a:pathLst>
                <a:path w="1594" h="3006">
                  <a:moveTo>
                    <a:pt x="1306" y="0"/>
                  </a:moveTo>
                  <a:lnTo>
                    <a:pt x="1306" y="0"/>
                  </a:lnTo>
                  <a:lnTo>
                    <a:pt x="1308" y="774"/>
                  </a:lnTo>
                  <a:lnTo>
                    <a:pt x="1306" y="874"/>
                  </a:lnTo>
                  <a:lnTo>
                    <a:pt x="1304" y="898"/>
                  </a:lnTo>
                  <a:lnTo>
                    <a:pt x="1302" y="918"/>
                  </a:lnTo>
                  <a:lnTo>
                    <a:pt x="1302" y="918"/>
                  </a:lnTo>
                  <a:lnTo>
                    <a:pt x="1292" y="966"/>
                  </a:lnTo>
                  <a:lnTo>
                    <a:pt x="1280" y="1012"/>
                  </a:lnTo>
                  <a:lnTo>
                    <a:pt x="1262" y="1056"/>
                  </a:lnTo>
                  <a:lnTo>
                    <a:pt x="1242" y="1098"/>
                  </a:lnTo>
                  <a:lnTo>
                    <a:pt x="1218" y="1136"/>
                  </a:lnTo>
                  <a:lnTo>
                    <a:pt x="1190" y="1172"/>
                  </a:lnTo>
                  <a:lnTo>
                    <a:pt x="1160" y="1206"/>
                  </a:lnTo>
                  <a:lnTo>
                    <a:pt x="1126" y="1236"/>
                  </a:lnTo>
                  <a:lnTo>
                    <a:pt x="1092" y="1264"/>
                  </a:lnTo>
                  <a:lnTo>
                    <a:pt x="1054" y="1288"/>
                  </a:lnTo>
                  <a:lnTo>
                    <a:pt x="1014" y="1310"/>
                  </a:lnTo>
                  <a:lnTo>
                    <a:pt x="974" y="1326"/>
                  </a:lnTo>
                  <a:lnTo>
                    <a:pt x="932" y="1340"/>
                  </a:lnTo>
                  <a:lnTo>
                    <a:pt x="888" y="1350"/>
                  </a:lnTo>
                  <a:lnTo>
                    <a:pt x="842" y="1356"/>
                  </a:lnTo>
                  <a:lnTo>
                    <a:pt x="798" y="1358"/>
                  </a:lnTo>
                  <a:lnTo>
                    <a:pt x="798" y="1360"/>
                  </a:lnTo>
                  <a:lnTo>
                    <a:pt x="798" y="1360"/>
                  </a:lnTo>
                  <a:lnTo>
                    <a:pt x="756" y="1360"/>
                  </a:lnTo>
                  <a:lnTo>
                    <a:pt x="716" y="1364"/>
                  </a:lnTo>
                  <a:lnTo>
                    <a:pt x="676" y="1368"/>
                  </a:lnTo>
                  <a:lnTo>
                    <a:pt x="636" y="1376"/>
                  </a:lnTo>
                  <a:lnTo>
                    <a:pt x="598" y="1384"/>
                  </a:lnTo>
                  <a:lnTo>
                    <a:pt x="560" y="1396"/>
                  </a:lnTo>
                  <a:lnTo>
                    <a:pt x="524" y="1408"/>
                  </a:lnTo>
                  <a:lnTo>
                    <a:pt x="488" y="1422"/>
                  </a:lnTo>
                  <a:lnTo>
                    <a:pt x="452" y="1438"/>
                  </a:lnTo>
                  <a:lnTo>
                    <a:pt x="418" y="1456"/>
                  </a:lnTo>
                  <a:lnTo>
                    <a:pt x="384" y="1476"/>
                  </a:lnTo>
                  <a:lnTo>
                    <a:pt x="352" y="1496"/>
                  </a:lnTo>
                  <a:lnTo>
                    <a:pt x="320" y="1520"/>
                  </a:lnTo>
                  <a:lnTo>
                    <a:pt x="290" y="1542"/>
                  </a:lnTo>
                  <a:lnTo>
                    <a:pt x="262" y="1568"/>
                  </a:lnTo>
                  <a:lnTo>
                    <a:pt x="234" y="1594"/>
                  </a:lnTo>
                  <a:lnTo>
                    <a:pt x="208" y="1622"/>
                  </a:lnTo>
                  <a:lnTo>
                    <a:pt x="182" y="1652"/>
                  </a:lnTo>
                  <a:lnTo>
                    <a:pt x="158" y="1682"/>
                  </a:lnTo>
                  <a:lnTo>
                    <a:pt x="136" y="1712"/>
                  </a:lnTo>
                  <a:lnTo>
                    <a:pt x="116" y="1746"/>
                  </a:lnTo>
                  <a:lnTo>
                    <a:pt x="96" y="1778"/>
                  </a:lnTo>
                  <a:lnTo>
                    <a:pt x="80" y="1812"/>
                  </a:lnTo>
                  <a:lnTo>
                    <a:pt x="64" y="1848"/>
                  </a:lnTo>
                  <a:lnTo>
                    <a:pt x="50" y="1884"/>
                  </a:lnTo>
                  <a:lnTo>
                    <a:pt x="36" y="1920"/>
                  </a:lnTo>
                  <a:lnTo>
                    <a:pt x="26" y="1958"/>
                  </a:lnTo>
                  <a:lnTo>
                    <a:pt x="18" y="1996"/>
                  </a:lnTo>
                  <a:lnTo>
                    <a:pt x="10" y="2036"/>
                  </a:lnTo>
                  <a:lnTo>
                    <a:pt x="4" y="2076"/>
                  </a:lnTo>
                  <a:lnTo>
                    <a:pt x="2" y="2116"/>
                  </a:lnTo>
                  <a:lnTo>
                    <a:pt x="0" y="2156"/>
                  </a:lnTo>
                  <a:lnTo>
                    <a:pt x="0" y="3006"/>
                  </a:lnTo>
                  <a:lnTo>
                    <a:pt x="288" y="3006"/>
                  </a:lnTo>
                  <a:lnTo>
                    <a:pt x="288" y="2156"/>
                  </a:lnTo>
                  <a:lnTo>
                    <a:pt x="288" y="2156"/>
                  </a:lnTo>
                  <a:lnTo>
                    <a:pt x="290" y="2130"/>
                  </a:lnTo>
                  <a:lnTo>
                    <a:pt x="292" y="2104"/>
                  </a:lnTo>
                  <a:lnTo>
                    <a:pt x="294" y="2078"/>
                  </a:lnTo>
                  <a:lnTo>
                    <a:pt x="300" y="2052"/>
                  </a:lnTo>
                  <a:lnTo>
                    <a:pt x="304" y="2028"/>
                  </a:lnTo>
                  <a:lnTo>
                    <a:pt x="312" y="2004"/>
                  </a:lnTo>
                  <a:lnTo>
                    <a:pt x="320" y="1980"/>
                  </a:lnTo>
                  <a:lnTo>
                    <a:pt x="330" y="1958"/>
                  </a:lnTo>
                  <a:lnTo>
                    <a:pt x="340" y="1934"/>
                  </a:lnTo>
                  <a:lnTo>
                    <a:pt x="350" y="1912"/>
                  </a:lnTo>
                  <a:lnTo>
                    <a:pt x="376" y="1870"/>
                  </a:lnTo>
                  <a:lnTo>
                    <a:pt x="406" y="1832"/>
                  </a:lnTo>
                  <a:lnTo>
                    <a:pt x="440" y="1796"/>
                  </a:lnTo>
                  <a:lnTo>
                    <a:pt x="476" y="1762"/>
                  </a:lnTo>
                  <a:lnTo>
                    <a:pt x="516" y="1734"/>
                  </a:lnTo>
                  <a:lnTo>
                    <a:pt x="558" y="1708"/>
                  </a:lnTo>
                  <a:lnTo>
                    <a:pt x="602" y="1686"/>
                  </a:lnTo>
                  <a:lnTo>
                    <a:pt x="624" y="1678"/>
                  </a:lnTo>
                  <a:lnTo>
                    <a:pt x="648" y="1670"/>
                  </a:lnTo>
                  <a:lnTo>
                    <a:pt x="672" y="1664"/>
                  </a:lnTo>
                  <a:lnTo>
                    <a:pt x="696" y="1658"/>
                  </a:lnTo>
                  <a:lnTo>
                    <a:pt x="722" y="1652"/>
                  </a:lnTo>
                  <a:lnTo>
                    <a:pt x="746" y="1650"/>
                  </a:lnTo>
                  <a:lnTo>
                    <a:pt x="772" y="1648"/>
                  </a:lnTo>
                  <a:lnTo>
                    <a:pt x="798" y="1648"/>
                  </a:lnTo>
                  <a:lnTo>
                    <a:pt x="798" y="1646"/>
                  </a:lnTo>
                  <a:lnTo>
                    <a:pt x="798" y="1646"/>
                  </a:lnTo>
                  <a:lnTo>
                    <a:pt x="838" y="1646"/>
                  </a:lnTo>
                  <a:lnTo>
                    <a:pt x="880" y="1642"/>
                  </a:lnTo>
                  <a:lnTo>
                    <a:pt x="920" y="1636"/>
                  </a:lnTo>
                  <a:lnTo>
                    <a:pt x="960" y="1630"/>
                  </a:lnTo>
                  <a:lnTo>
                    <a:pt x="998" y="1620"/>
                  </a:lnTo>
                  <a:lnTo>
                    <a:pt x="1036" y="1610"/>
                  </a:lnTo>
                  <a:lnTo>
                    <a:pt x="1074" y="1596"/>
                  </a:lnTo>
                  <a:lnTo>
                    <a:pt x="1110" y="1582"/>
                  </a:lnTo>
                  <a:lnTo>
                    <a:pt x="1146" y="1566"/>
                  </a:lnTo>
                  <a:lnTo>
                    <a:pt x="1180" y="1548"/>
                  </a:lnTo>
                  <a:lnTo>
                    <a:pt x="1214" y="1528"/>
                  </a:lnTo>
                  <a:lnTo>
                    <a:pt x="1246" y="1508"/>
                  </a:lnTo>
                  <a:lnTo>
                    <a:pt x="1276" y="1486"/>
                  </a:lnTo>
                  <a:lnTo>
                    <a:pt x="1306" y="1462"/>
                  </a:lnTo>
                  <a:lnTo>
                    <a:pt x="1336" y="1436"/>
                  </a:lnTo>
                  <a:lnTo>
                    <a:pt x="1362" y="1410"/>
                  </a:lnTo>
                  <a:lnTo>
                    <a:pt x="1390" y="1382"/>
                  </a:lnTo>
                  <a:lnTo>
                    <a:pt x="1414" y="1352"/>
                  </a:lnTo>
                  <a:lnTo>
                    <a:pt x="1438" y="1322"/>
                  </a:lnTo>
                  <a:lnTo>
                    <a:pt x="1460" y="1290"/>
                  </a:lnTo>
                  <a:lnTo>
                    <a:pt x="1480" y="1258"/>
                  </a:lnTo>
                  <a:lnTo>
                    <a:pt x="1500" y="1226"/>
                  </a:lnTo>
                  <a:lnTo>
                    <a:pt x="1516" y="1190"/>
                  </a:lnTo>
                  <a:lnTo>
                    <a:pt x="1532" y="1156"/>
                  </a:lnTo>
                  <a:lnTo>
                    <a:pt x="1546" y="1120"/>
                  </a:lnTo>
                  <a:lnTo>
                    <a:pt x="1558" y="1084"/>
                  </a:lnTo>
                  <a:lnTo>
                    <a:pt x="1570" y="1046"/>
                  </a:lnTo>
                  <a:lnTo>
                    <a:pt x="1578" y="1008"/>
                  </a:lnTo>
                  <a:lnTo>
                    <a:pt x="1586" y="968"/>
                  </a:lnTo>
                  <a:lnTo>
                    <a:pt x="1590" y="930"/>
                  </a:lnTo>
                  <a:lnTo>
                    <a:pt x="1594" y="890"/>
                  </a:lnTo>
                  <a:lnTo>
                    <a:pt x="1594" y="850"/>
                  </a:lnTo>
                  <a:lnTo>
                    <a:pt x="1594" y="0"/>
                  </a:lnTo>
                  <a:lnTo>
                    <a:pt x="1306"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2" name="Freeform 74"/>
            <p:cNvSpPr/>
            <p:nvPr/>
          </p:nvSpPr>
          <p:spPr bwMode="auto">
            <a:xfrm>
              <a:off x="6072188" y="-3967163"/>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8"/>
                </a:cxn>
                <a:cxn ang="0">
                  <a:pos x="858" y="18"/>
                </a:cxn>
                <a:cxn ang="0">
                  <a:pos x="848" y="12"/>
                </a:cxn>
                <a:cxn ang="0">
                  <a:pos x="838" y="6"/>
                </a:cxn>
                <a:cxn ang="0">
                  <a:pos x="828" y="2"/>
                </a:cxn>
                <a:cxn ang="0">
                  <a:pos x="816" y="0"/>
                </a:cxn>
                <a:cxn ang="0">
                  <a:pos x="60" y="0"/>
                </a:cxn>
                <a:cxn ang="0">
                  <a:pos x="60" y="0"/>
                </a:cxn>
                <a:cxn ang="0">
                  <a:pos x="48" y="2"/>
                </a:cxn>
                <a:cxn ang="0">
                  <a:pos x="36" y="6"/>
                </a:cxn>
                <a:cxn ang="0">
                  <a:pos x="26" y="12"/>
                </a:cxn>
                <a:cxn ang="0">
                  <a:pos x="18" y="18"/>
                </a:cxn>
                <a:cxn ang="0">
                  <a:pos x="10" y="28"/>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8"/>
                  </a:lnTo>
                  <a:lnTo>
                    <a:pt x="858" y="18"/>
                  </a:lnTo>
                  <a:lnTo>
                    <a:pt x="848" y="12"/>
                  </a:lnTo>
                  <a:lnTo>
                    <a:pt x="838" y="6"/>
                  </a:lnTo>
                  <a:lnTo>
                    <a:pt x="828" y="2"/>
                  </a:lnTo>
                  <a:lnTo>
                    <a:pt x="816" y="0"/>
                  </a:lnTo>
                  <a:lnTo>
                    <a:pt x="60" y="0"/>
                  </a:lnTo>
                  <a:lnTo>
                    <a:pt x="60" y="0"/>
                  </a:lnTo>
                  <a:lnTo>
                    <a:pt x="48" y="2"/>
                  </a:lnTo>
                  <a:lnTo>
                    <a:pt x="36" y="6"/>
                  </a:lnTo>
                  <a:lnTo>
                    <a:pt x="26" y="12"/>
                  </a:lnTo>
                  <a:lnTo>
                    <a:pt x="18" y="18"/>
                  </a:lnTo>
                  <a:lnTo>
                    <a:pt x="10" y="28"/>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3" name="Freeform 75"/>
            <p:cNvSpPr/>
            <p:nvPr/>
          </p:nvSpPr>
          <p:spPr bwMode="auto">
            <a:xfrm>
              <a:off x="6072188" y="-3519488"/>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8"/>
                </a:cxn>
                <a:cxn ang="0">
                  <a:pos x="858" y="18"/>
                </a:cxn>
                <a:cxn ang="0">
                  <a:pos x="848" y="10"/>
                </a:cxn>
                <a:cxn ang="0">
                  <a:pos x="838" y="6"/>
                </a:cxn>
                <a:cxn ang="0">
                  <a:pos x="828" y="2"/>
                </a:cxn>
                <a:cxn ang="0">
                  <a:pos x="816" y="0"/>
                </a:cxn>
                <a:cxn ang="0">
                  <a:pos x="60" y="0"/>
                </a:cxn>
                <a:cxn ang="0">
                  <a:pos x="60" y="0"/>
                </a:cxn>
                <a:cxn ang="0">
                  <a:pos x="48" y="2"/>
                </a:cxn>
                <a:cxn ang="0">
                  <a:pos x="36" y="6"/>
                </a:cxn>
                <a:cxn ang="0">
                  <a:pos x="26" y="10"/>
                </a:cxn>
                <a:cxn ang="0">
                  <a:pos x="18" y="18"/>
                </a:cxn>
                <a:cxn ang="0">
                  <a:pos x="10" y="28"/>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8"/>
                  </a:lnTo>
                  <a:lnTo>
                    <a:pt x="858" y="18"/>
                  </a:lnTo>
                  <a:lnTo>
                    <a:pt x="848" y="10"/>
                  </a:lnTo>
                  <a:lnTo>
                    <a:pt x="838" y="6"/>
                  </a:lnTo>
                  <a:lnTo>
                    <a:pt x="828" y="2"/>
                  </a:lnTo>
                  <a:lnTo>
                    <a:pt x="816" y="0"/>
                  </a:lnTo>
                  <a:lnTo>
                    <a:pt x="60" y="0"/>
                  </a:lnTo>
                  <a:lnTo>
                    <a:pt x="60" y="0"/>
                  </a:lnTo>
                  <a:lnTo>
                    <a:pt x="48" y="2"/>
                  </a:lnTo>
                  <a:lnTo>
                    <a:pt x="36" y="6"/>
                  </a:lnTo>
                  <a:lnTo>
                    <a:pt x="26" y="10"/>
                  </a:lnTo>
                  <a:lnTo>
                    <a:pt x="18" y="18"/>
                  </a:lnTo>
                  <a:lnTo>
                    <a:pt x="10" y="28"/>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4" name="Freeform 76"/>
            <p:cNvSpPr/>
            <p:nvPr/>
          </p:nvSpPr>
          <p:spPr bwMode="auto">
            <a:xfrm>
              <a:off x="6072188" y="-3071813"/>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6"/>
                </a:cxn>
                <a:cxn ang="0">
                  <a:pos x="858" y="18"/>
                </a:cxn>
                <a:cxn ang="0">
                  <a:pos x="848" y="10"/>
                </a:cxn>
                <a:cxn ang="0">
                  <a:pos x="838" y="6"/>
                </a:cxn>
                <a:cxn ang="0">
                  <a:pos x="828" y="2"/>
                </a:cxn>
                <a:cxn ang="0">
                  <a:pos x="816" y="0"/>
                </a:cxn>
                <a:cxn ang="0">
                  <a:pos x="60" y="0"/>
                </a:cxn>
                <a:cxn ang="0">
                  <a:pos x="60" y="0"/>
                </a:cxn>
                <a:cxn ang="0">
                  <a:pos x="48" y="2"/>
                </a:cxn>
                <a:cxn ang="0">
                  <a:pos x="36" y="6"/>
                </a:cxn>
                <a:cxn ang="0">
                  <a:pos x="26" y="10"/>
                </a:cxn>
                <a:cxn ang="0">
                  <a:pos x="18" y="18"/>
                </a:cxn>
                <a:cxn ang="0">
                  <a:pos x="10" y="26"/>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6"/>
                  </a:lnTo>
                  <a:lnTo>
                    <a:pt x="858" y="18"/>
                  </a:lnTo>
                  <a:lnTo>
                    <a:pt x="848" y="10"/>
                  </a:lnTo>
                  <a:lnTo>
                    <a:pt x="838" y="6"/>
                  </a:lnTo>
                  <a:lnTo>
                    <a:pt x="828" y="2"/>
                  </a:lnTo>
                  <a:lnTo>
                    <a:pt x="816" y="0"/>
                  </a:lnTo>
                  <a:lnTo>
                    <a:pt x="60" y="0"/>
                  </a:lnTo>
                  <a:lnTo>
                    <a:pt x="60" y="0"/>
                  </a:lnTo>
                  <a:lnTo>
                    <a:pt x="48" y="2"/>
                  </a:lnTo>
                  <a:lnTo>
                    <a:pt x="36" y="6"/>
                  </a:lnTo>
                  <a:lnTo>
                    <a:pt x="26" y="10"/>
                  </a:lnTo>
                  <a:lnTo>
                    <a:pt x="18" y="18"/>
                  </a:lnTo>
                  <a:lnTo>
                    <a:pt x="10" y="26"/>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5" name="Freeform 77"/>
            <p:cNvSpPr/>
            <p:nvPr/>
          </p:nvSpPr>
          <p:spPr bwMode="auto">
            <a:xfrm>
              <a:off x="6094413" y="-2624138"/>
              <a:ext cx="1343025" cy="190500"/>
            </a:xfrm>
            <a:custGeom>
              <a:avLst/>
              <a:gdLst/>
              <a:ahLst/>
              <a:cxnLst>
                <a:cxn ang="0">
                  <a:pos x="846" y="60"/>
                </a:cxn>
                <a:cxn ang="0">
                  <a:pos x="846" y="60"/>
                </a:cxn>
                <a:cxn ang="0">
                  <a:pos x="846" y="48"/>
                </a:cxn>
                <a:cxn ang="0">
                  <a:pos x="842" y="36"/>
                </a:cxn>
                <a:cxn ang="0">
                  <a:pos x="836" y="26"/>
                </a:cxn>
                <a:cxn ang="0">
                  <a:pos x="830" y="18"/>
                </a:cxn>
                <a:cxn ang="0">
                  <a:pos x="820" y="10"/>
                </a:cxn>
                <a:cxn ang="0">
                  <a:pos x="810" y="6"/>
                </a:cxn>
                <a:cxn ang="0">
                  <a:pos x="800" y="2"/>
                </a:cxn>
                <a:cxn ang="0">
                  <a:pos x="788" y="0"/>
                </a:cxn>
                <a:cxn ang="0">
                  <a:pos x="60" y="0"/>
                </a:cxn>
                <a:cxn ang="0">
                  <a:pos x="60" y="0"/>
                </a:cxn>
                <a:cxn ang="0">
                  <a:pos x="48" y="2"/>
                </a:cxn>
                <a:cxn ang="0">
                  <a:pos x="36" y="6"/>
                </a:cxn>
                <a:cxn ang="0">
                  <a:pos x="26" y="10"/>
                </a:cxn>
                <a:cxn ang="0">
                  <a:pos x="18" y="18"/>
                </a:cxn>
                <a:cxn ang="0">
                  <a:pos x="10" y="26"/>
                </a:cxn>
                <a:cxn ang="0">
                  <a:pos x="6" y="36"/>
                </a:cxn>
                <a:cxn ang="0">
                  <a:pos x="2" y="48"/>
                </a:cxn>
                <a:cxn ang="0">
                  <a:pos x="0" y="60"/>
                </a:cxn>
                <a:cxn ang="0">
                  <a:pos x="0" y="60"/>
                </a:cxn>
                <a:cxn ang="0">
                  <a:pos x="2" y="72"/>
                </a:cxn>
                <a:cxn ang="0">
                  <a:pos x="6" y="84"/>
                </a:cxn>
                <a:cxn ang="0">
                  <a:pos x="10" y="94"/>
                </a:cxn>
                <a:cxn ang="0">
                  <a:pos x="18" y="102"/>
                </a:cxn>
                <a:cxn ang="0">
                  <a:pos x="26" y="110"/>
                </a:cxn>
                <a:cxn ang="0">
                  <a:pos x="36" y="116"/>
                </a:cxn>
                <a:cxn ang="0">
                  <a:pos x="48" y="118"/>
                </a:cxn>
                <a:cxn ang="0">
                  <a:pos x="60" y="120"/>
                </a:cxn>
                <a:cxn ang="0">
                  <a:pos x="788" y="120"/>
                </a:cxn>
                <a:cxn ang="0">
                  <a:pos x="788" y="120"/>
                </a:cxn>
                <a:cxn ang="0">
                  <a:pos x="800" y="118"/>
                </a:cxn>
                <a:cxn ang="0">
                  <a:pos x="810" y="116"/>
                </a:cxn>
                <a:cxn ang="0">
                  <a:pos x="820" y="110"/>
                </a:cxn>
                <a:cxn ang="0">
                  <a:pos x="830" y="102"/>
                </a:cxn>
                <a:cxn ang="0">
                  <a:pos x="836" y="94"/>
                </a:cxn>
                <a:cxn ang="0">
                  <a:pos x="842" y="84"/>
                </a:cxn>
                <a:cxn ang="0">
                  <a:pos x="846" y="72"/>
                </a:cxn>
                <a:cxn ang="0">
                  <a:pos x="846" y="60"/>
                </a:cxn>
                <a:cxn ang="0">
                  <a:pos x="846" y="60"/>
                </a:cxn>
              </a:cxnLst>
              <a:rect l="0" t="0" r="r" b="b"/>
              <a:pathLst>
                <a:path w="846" h="120">
                  <a:moveTo>
                    <a:pt x="846" y="60"/>
                  </a:moveTo>
                  <a:lnTo>
                    <a:pt x="846" y="60"/>
                  </a:lnTo>
                  <a:lnTo>
                    <a:pt x="846" y="48"/>
                  </a:lnTo>
                  <a:lnTo>
                    <a:pt x="842" y="36"/>
                  </a:lnTo>
                  <a:lnTo>
                    <a:pt x="836" y="26"/>
                  </a:lnTo>
                  <a:lnTo>
                    <a:pt x="830" y="18"/>
                  </a:lnTo>
                  <a:lnTo>
                    <a:pt x="820" y="10"/>
                  </a:lnTo>
                  <a:lnTo>
                    <a:pt x="810" y="6"/>
                  </a:lnTo>
                  <a:lnTo>
                    <a:pt x="800" y="2"/>
                  </a:lnTo>
                  <a:lnTo>
                    <a:pt x="788" y="0"/>
                  </a:lnTo>
                  <a:lnTo>
                    <a:pt x="60" y="0"/>
                  </a:lnTo>
                  <a:lnTo>
                    <a:pt x="60" y="0"/>
                  </a:lnTo>
                  <a:lnTo>
                    <a:pt x="48" y="2"/>
                  </a:lnTo>
                  <a:lnTo>
                    <a:pt x="36" y="6"/>
                  </a:lnTo>
                  <a:lnTo>
                    <a:pt x="26" y="10"/>
                  </a:lnTo>
                  <a:lnTo>
                    <a:pt x="18" y="18"/>
                  </a:lnTo>
                  <a:lnTo>
                    <a:pt x="10" y="26"/>
                  </a:lnTo>
                  <a:lnTo>
                    <a:pt x="6" y="36"/>
                  </a:lnTo>
                  <a:lnTo>
                    <a:pt x="2" y="48"/>
                  </a:lnTo>
                  <a:lnTo>
                    <a:pt x="0" y="60"/>
                  </a:lnTo>
                  <a:lnTo>
                    <a:pt x="0" y="60"/>
                  </a:lnTo>
                  <a:lnTo>
                    <a:pt x="2" y="72"/>
                  </a:lnTo>
                  <a:lnTo>
                    <a:pt x="6" y="84"/>
                  </a:lnTo>
                  <a:lnTo>
                    <a:pt x="10" y="94"/>
                  </a:lnTo>
                  <a:lnTo>
                    <a:pt x="18" y="102"/>
                  </a:lnTo>
                  <a:lnTo>
                    <a:pt x="26" y="110"/>
                  </a:lnTo>
                  <a:lnTo>
                    <a:pt x="36" y="116"/>
                  </a:lnTo>
                  <a:lnTo>
                    <a:pt x="48" y="118"/>
                  </a:lnTo>
                  <a:lnTo>
                    <a:pt x="60" y="120"/>
                  </a:lnTo>
                  <a:lnTo>
                    <a:pt x="788" y="120"/>
                  </a:lnTo>
                  <a:lnTo>
                    <a:pt x="788" y="120"/>
                  </a:lnTo>
                  <a:lnTo>
                    <a:pt x="800" y="118"/>
                  </a:lnTo>
                  <a:lnTo>
                    <a:pt x="810" y="116"/>
                  </a:lnTo>
                  <a:lnTo>
                    <a:pt x="820" y="110"/>
                  </a:lnTo>
                  <a:lnTo>
                    <a:pt x="830" y="102"/>
                  </a:lnTo>
                  <a:lnTo>
                    <a:pt x="836" y="94"/>
                  </a:lnTo>
                  <a:lnTo>
                    <a:pt x="842" y="84"/>
                  </a:lnTo>
                  <a:lnTo>
                    <a:pt x="846" y="72"/>
                  </a:lnTo>
                  <a:lnTo>
                    <a:pt x="846" y="60"/>
                  </a:lnTo>
                  <a:lnTo>
                    <a:pt x="846" y="6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6" name="Freeform 78"/>
            <p:cNvSpPr/>
            <p:nvPr/>
          </p:nvSpPr>
          <p:spPr bwMode="auto">
            <a:xfrm>
              <a:off x="6357938" y="-2185988"/>
              <a:ext cx="815975" cy="187325"/>
            </a:xfrm>
            <a:custGeom>
              <a:avLst/>
              <a:gdLst/>
              <a:ahLst/>
              <a:cxnLst>
                <a:cxn ang="0">
                  <a:pos x="60" y="0"/>
                </a:cxn>
                <a:cxn ang="0">
                  <a:pos x="60" y="0"/>
                </a:cxn>
                <a:cxn ang="0">
                  <a:pos x="48" y="0"/>
                </a:cxn>
                <a:cxn ang="0">
                  <a:pos x="38" y="4"/>
                </a:cxn>
                <a:cxn ang="0">
                  <a:pos x="26" y="10"/>
                </a:cxn>
                <a:cxn ang="0">
                  <a:pos x="18" y="16"/>
                </a:cxn>
                <a:cxn ang="0">
                  <a:pos x="10" y="26"/>
                </a:cxn>
                <a:cxn ang="0">
                  <a:pos x="6" y="36"/>
                </a:cxn>
                <a:cxn ang="0">
                  <a:pos x="2" y="46"/>
                </a:cxn>
                <a:cxn ang="0">
                  <a:pos x="0" y="58"/>
                </a:cxn>
                <a:cxn ang="0">
                  <a:pos x="0" y="58"/>
                </a:cxn>
                <a:cxn ang="0">
                  <a:pos x="2" y="70"/>
                </a:cxn>
                <a:cxn ang="0">
                  <a:pos x="6" y="82"/>
                </a:cxn>
                <a:cxn ang="0">
                  <a:pos x="10" y="92"/>
                </a:cxn>
                <a:cxn ang="0">
                  <a:pos x="18" y="100"/>
                </a:cxn>
                <a:cxn ang="0">
                  <a:pos x="26" y="108"/>
                </a:cxn>
                <a:cxn ang="0">
                  <a:pos x="38" y="114"/>
                </a:cxn>
                <a:cxn ang="0">
                  <a:pos x="48" y="118"/>
                </a:cxn>
                <a:cxn ang="0">
                  <a:pos x="60" y="118"/>
                </a:cxn>
                <a:cxn ang="0">
                  <a:pos x="454" y="118"/>
                </a:cxn>
                <a:cxn ang="0">
                  <a:pos x="454" y="118"/>
                </a:cxn>
                <a:cxn ang="0">
                  <a:pos x="466" y="118"/>
                </a:cxn>
                <a:cxn ang="0">
                  <a:pos x="478" y="114"/>
                </a:cxn>
                <a:cxn ang="0">
                  <a:pos x="488" y="108"/>
                </a:cxn>
                <a:cxn ang="0">
                  <a:pos x="496" y="100"/>
                </a:cxn>
                <a:cxn ang="0">
                  <a:pos x="504" y="92"/>
                </a:cxn>
                <a:cxn ang="0">
                  <a:pos x="510" y="82"/>
                </a:cxn>
                <a:cxn ang="0">
                  <a:pos x="514" y="70"/>
                </a:cxn>
                <a:cxn ang="0">
                  <a:pos x="514" y="58"/>
                </a:cxn>
                <a:cxn ang="0">
                  <a:pos x="514" y="58"/>
                </a:cxn>
                <a:cxn ang="0">
                  <a:pos x="514" y="46"/>
                </a:cxn>
                <a:cxn ang="0">
                  <a:pos x="510" y="36"/>
                </a:cxn>
                <a:cxn ang="0">
                  <a:pos x="504" y="26"/>
                </a:cxn>
                <a:cxn ang="0">
                  <a:pos x="496" y="16"/>
                </a:cxn>
                <a:cxn ang="0">
                  <a:pos x="488" y="10"/>
                </a:cxn>
                <a:cxn ang="0">
                  <a:pos x="478" y="4"/>
                </a:cxn>
                <a:cxn ang="0">
                  <a:pos x="466" y="0"/>
                </a:cxn>
                <a:cxn ang="0">
                  <a:pos x="454" y="0"/>
                </a:cxn>
                <a:cxn ang="0">
                  <a:pos x="60" y="0"/>
                </a:cxn>
              </a:cxnLst>
              <a:rect l="0" t="0" r="r" b="b"/>
              <a:pathLst>
                <a:path w="514" h="118">
                  <a:moveTo>
                    <a:pt x="60" y="0"/>
                  </a:moveTo>
                  <a:lnTo>
                    <a:pt x="60" y="0"/>
                  </a:lnTo>
                  <a:lnTo>
                    <a:pt x="48" y="0"/>
                  </a:lnTo>
                  <a:lnTo>
                    <a:pt x="38" y="4"/>
                  </a:lnTo>
                  <a:lnTo>
                    <a:pt x="26" y="10"/>
                  </a:lnTo>
                  <a:lnTo>
                    <a:pt x="18" y="16"/>
                  </a:lnTo>
                  <a:lnTo>
                    <a:pt x="10" y="26"/>
                  </a:lnTo>
                  <a:lnTo>
                    <a:pt x="6" y="36"/>
                  </a:lnTo>
                  <a:lnTo>
                    <a:pt x="2" y="46"/>
                  </a:lnTo>
                  <a:lnTo>
                    <a:pt x="0" y="58"/>
                  </a:lnTo>
                  <a:lnTo>
                    <a:pt x="0" y="58"/>
                  </a:lnTo>
                  <a:lnTo>
                    <a:pt x="2" y="70"/>
                  </a:lnTo>
                  <a:lnTo>
                    <a:pt x="6" y="82"/>
                  </a:lnTo>
                  <a:lnTo>
                    <a:pt x="10" y="92"/>
                  </a:lnTo>
                  <a:lnTo>
                    <a:pt x="18" y="100"/>
                  </a:lnTo>
                  <a:lnTo>
                    <a:pt x="26" y="108"/>
                  </a:lnTo>
                  <a:lnTo>
                    <a:pt x="38" y="114"/>
                  </a:lnTo>
                  <a:lnTo>
                    <a:pt x="48" y="118"/>
                  </a:lnTo>
                  <a:lnTo>
                    <a:pt x="60" y="118"/>
                  </a:lnTo>
                  <a:lnTo>
                    <a:pt x="454" y="118"/>
                  </a:lnTo>
                  <a:lnTo>
                    <a:pt x="454" y="118"/>
                  </a:lnTo>
                  <a:lnTo>
                    <a:pt x="466" y="118"/>
                  </a:lnTo>
                  <a:lnTo>
                    <a:pt x="478" y="114"/>
                  </a:lnTo>
                  <a:lnTo>
                    <a:pt x="488" y="108"/>
                  </a:lnTo>
                  <a:lnTo>
                    <a:pt x="496" y="100"/>
                  </a:lnTo>
                  <a:lnTo>
                    <a:pt x="504" y="92"/>
                  </a:lnTo>
                  <a:lnTo>
                    <a:pt x="510" y="82"/>
                  </a:lnTo>
                  <a:lnTo>
                    <a:pt x="514" y="70"/>
                  </a:lnTo>
                  <a:lnTo>
                    <a:pt x="514" y="58"/>
                  </a:lnTo>
                  <a:lnTo>
                    <a:pt x="514" y="58"/>
                  </a:lnTo>
                  <a:lnTo>
                    <a:pt x="514" y="46"/>
                  </a:lnTo>
                  <a:lnTo>
                    <a:pt x="510" y="36"/>
                  </a:lnTo>
                  <a:lnTo>
                    <a:pt x="504" y="26"/>
                  </a:lnTo>
                  <a:lnTo>
                    <a:pt x="496" y="16"/>
                  </a:lnTo>
                  <a:lnTo>
                    <a:pt x="488" y="10"/>
                  </a:lnTo>
                  <a:lnTo>
                    <a:pt x="478" y="4"/>
                  </a:lnTo>
                  <a:lnTo>
                    <a:pt x="466" y="0"/>
                  </a:lnTo>
                  <a:lnTo>
                    <a:pt x="454" y="0"/>
                  </a:lnTo>
                  <a:lnTo>
                    <a:pt x="60"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7" name="Freeform 79"/>
            <p:cNvSpPr/>
            <p:nvPr/>
          </p:nvSpPr>
          <p:spPr bwMode="auto">
            <a:xfrm>
              <a:off x="6072188" y="611187"/>
              <a:ext cx="1387475" cy="190500"/>
            </a:xfrm>
            <a:custGeom>
              <a:avLst/>
              <a:gdLst/>
              <a:ahLst/>
              <a:cxnLst>
                <a:cxn ang="0">
                  <a:pos x="816" y="0"/>
                </a:cxn>
                <a:cxn ang="0">
                  <a:pos x="60" y="0"/>
                </a:cxn>
                <a:cxn ang="0">
                  <a:pos x="60" y="0"/>
                </a:cxn>
                <a:cxn ang="0">
                  <a:pos x="48" y="2"/>
                </a:cxn>
                <a:cxn ang="0">
                  <a:pos x="36" y="4"/>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4"/>
                </a:cxn>
                <a:cxn ang="0">
                  <a:pos x="48" y="118"/>
                </a:cxn>
                <a:cxn ang="0">
                  <a:pos x="60" y="120"/>
                </a:cxn>
                <a:cxn ang="0">
                  <a:pos x="816" y="120"/>
                </a:cxn>
                <a:cxn ang="0">
                  <a:pos x="816" y="120"/>
                </a:cxn>
                <a:cxn ang="0">
                  <a:pos x="828" y="118"/>
                </a:cxn>
                <a:cxn ang="0">
                  <a:pos x="838" y="114"/>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4"/>
                </a:cxn>
                <a:cxn ang="0">
                  <a:pos x="828" y="2"/>
                </a:cxn>
                <a:cxn ang="0">
                  <a:pos x="816" y="0"/>
                </a:cxn>
                <a:cxn ang="0">
                  <a:pos x="816" y="0"/>
                </a:cxn>
              </a:cxnLst>
              <a:rect l="0" t="0" r="r" b="b"/>
              <a:pathLst>
                <a:path w="874" h="120">
                  <a:moveTo>
                    <a:pt x="816" y="0"/>
                  </a:moveTo>
                  <a:lnTo>
                    <a:pt x="60" y="0"/>
                  </a:lnTo>
                  <a:lnTo>
                    <a:pt x="60" y="0"/>
                  </a:lnTo>
                  <a:lnTo>
                    <a:pt x="48" y="2"/>
                  </a:lnTo>
                  <a:lnTo>
                    <a:pt x="36" y="4"/>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4"/>
                  </a:lnTo>
                  <a:lnTo>
                    <a:pt x="48" y="118"/>
                  </a:lnTo>
                  <a:lnTo>
                    <a:pt x="60" y="120"/>
                  </a:lnTo>
                  <a:lnTo>
                    <a:pt x="816" y="120"/>
                  </a:lnTo>
                  <a:lnTo>
                    <a:pt x="816" y="120"/>
                  </a:lnTo>
                  <a:lnTo>
                    <a:pt x="828" y="118"/>
                  </a:lnTo>
                  <a:lnTo>
                    <a:pt x="838" y="114"/>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4"/>
                  </a:lnTo>
                  <a:lnTo>
                    <a:pt x="828" y="2"/>
                  </a:lnTo>
                  <a:lnTo>
                    <a:pt x="816" y="0"/>
                  </a:lnTo>
                  <a:lnTo>
                    <a:pt x="816"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8" name="Freeform 80"/>
            <p:cNvSpPr/>
            <p:nvPr/>
          </p:nvSpPr>
          <p:spPr bwMode="auto">
            <a:xfrm>
              <a:off x="6072188" y="163512"/>
              <a:ext cx="1387475" cy="190500"/>
            </a:xfrm>
            <a:custGeom>
              <a:avLst/>
              <a:gdLst/>
              <a:ahLst/>
              <a:cxnLst>
                <a:cxn ang="0">
                  <a:pos x="816" y="0"/>
                </a:cxn>
                <a:cxn ang="0">
                  <a:pos x="60" y="0"/>
                </a:cxn>
                <a:cxn ang="0">
                  <a:pos x="60" y="0"/>
                </a:cxn>
                <a:cxn ang="0">
                  <a:pos x="48" y="2"/>
                </a:cxn>
                <a:cxn ang="0">
                  <a:pos x="36" y="6"/>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4"/>
                </a:cxn>
                <a:cxn ang="0">
                  <a:pos x="48" y="118"/>
                </a:cxn>
                <a:cxn ang="0">
                  <a:pos x="60" y="120"/>
                </a:cxn>
                <a:cxn ang="0">
                  <a:pos x="816" y="120"/>
                </a:cxn>
                <a:cxn ang="0">
                  <a:pos x="816" y="120"/>
                </a:cxn>
                <a:cxn ang="0">
                  <a:pos x="828" y="118"/>
                </a:cxn>
                <a:cxn ang="0">
                  <a:pos x="838" y="114"/>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6"/>
                </a:cxn>
                <a:cxn ang="0">
                  <a:pos x="828" y="2"/>
                </a:cxn>
                <a:cxn ang="0">
                  <a:pos x="816" y="0"/>
                </a:cxn>
                <a:cxn ang="0">
                  <a:pos x="816" y="0"/>
                </a:cxn>
              </a:cxnLst>
              <a:rect l="0" t="0" r="r" b="b"/>
              <a:pathLst>
                <a:path w="874" h="120">
                  <a:moveTo>
                    <a:pt x="816" y="0"/>
                  </a:move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4"/>
                  </a:lnTo>
                  <a:lnTo>
                    <a:pt x="48" y="118"/>
                  </a:lnTo>
                  <a:lnTo>
                    <a:pt x="60" y="120"/>
                  </a:lnTo>
                  <a:lnTo>
                    <a:pt x="816" y="120"/>
                  </a:lnTo>
                  <a:lnTo>
                    <a:pt x="816" y="120"/>
                  </a:lnTo>
                  <a:lnTo>
                    <a:pt x="828" y="118"/>
                  </a:lnTo>
                  <a:lnTo>
                    <a:pt x="838" y="114"/>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6"/>
                  </a:lnTo>
                  <a:lnTo>
                    <a:pt x="828" y="2"/>
                  </a:lnTo>
                  <a:lnTo>
                    <a:pt x="816" y="0"/>
                  </a:lnTo>
                  <a:lnTo>
                    <a:pt x="816"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9" name="Freeform 81"/>
            <p:cNvSpPr/>
            <p:nvPr/>
          </p:nvSpPr>
          <p:spPr bwMode="auto">
            <a:xfrm>
              <a:off x="6072188" y="-284163"/>
              <a:ext cx="1387475" cy="190500"/>
            </a:xfrm>
            <a:custGeom>
              <a:avLst/>
              <a:gdLst/>
              <a:ahLst/>
              <a:cxnLst>
                <a:cxn ang="0">
                  <a:pos x="816" y="0"/>
                </a:cxn>
                <a:cxn ang="0">
                  <a:pos x="60" y="0"/>
                </a:cxn>
                <a:cxn ang="0">
                  <a:pos x="60" y="0"/>
                </a:cxn>
                <a:cxn ang="0">
                  <a:pos x="48" y="2"/>
                </a:cxn>
                <a:cxn ang="0">
                  <a:pos x="36" y="6"/>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6"/>
                </a:cxn>
                <a:cxn ang="0">
                  <a:pos x="828" y="2"/>
                </a:cxn>
                <a:cxn ang="0">
                  <a:pos x="816" y="0"/>
                </a:cxn>
                <a:cxn ang="0">
                  <a:pos x="816" y="0"/>
                </a:cxn>
              </a:cxnLst>
              <a:rect l="0" t="0" r="r" b="b"/>
              <a:pathLst>
                <a:path w="874" h="120">
                  <a:moveTo>
                    <a:pt x="816" y="0"/>
                  </a:move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6"/>
                  </a:lnTo>
                  <a:lnTo>
                    <a:pt x="828" y="2"/>
                  </a:lnTo>
                  <a:lnTo>
                    <a:pt x="816" y="0"/>
                  </a:lnTo>
                  <a:lnTo>
                    <a:pt x="816"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50" name="Freeform 82"/>
            <p:cNvSpPr/>
            <p:nvPr/>
          </p:nvSpPr>
          <p:spPr bwMode="auto">
            <a:xfrm>
              <a:off x="6094413" y="-731838"/>
              <a:ext cx="1343025" cy="190500"/>
            </a:xfrm>
            <a:custGeom>
              <a:avLst/>
              <a:gdLst/>
              <a:ahLst/>
              <a:cxnLst>
                <a:cxn ang="0">
                  <a:pos x="0" y="60"/>
                </a:cxn>
                <a:cxn ang="0">
                  <a:pos x="0" y="60"/>
                </a:cxn>
                <a:cxn ang="0">
                  <a:pos x="2" y="72"/>
                </a:cxn>
                <a:cxn ang="0">
                  <a:pos x="6" y="84"/>
                </a:cxn>
                <a:cxn ang="0">
                  <a:pos x="10" y="94"/>
                </a:cxn>
                <a:cxn ang="0">
                  <a:pos x="18" y="102"/>
                </a:cxn>
                <a:cxn ang="0">
                  <a:pos x="26" y="110"/>
                </a:cxn>
                <a:cxn ang="0">
                  <a:pos x="36" y="116"/>
                </a:cxn>
                <a:cxn ang="0">
                  <a:pos x="48" y="118"/>
                </a:cxn>
                <a:cxn ang="0">
                  <a:pos x="60" y="120"/>
                </a:cxn>
                <a:cxn ang="0">
                  <a:pos x="788" y="120"/>
                </a:cxn>
                <a:cxn ang="0">
                  <a:pos x="788" y="120"/>
                </a:cxn>
                <a:cxn ang="0">
                  <a:pos x="800" y="118"/>
                </a:cxn>
                <a:cxn ang="0">
                  <a:pos x="810" y="116"/>
                </a:cxn>
                <a:cxn ang="0">
                  <a:pos x="820" y="110"/>
                </a:cxn>
                <a:cxn ang="0">
                  <a:pos x="830" y="102"/>
                </a:cxn>
                <a:cxn ang="0">
                  <a:pos x="836" y="94"/>
                </a:cxn>
                <a:cxn ang="0">
                  <a:pos x="842" y="84"/>
                </a:cxn>
                <a:cxn ang="0">
                  <a:pos x="846" y="72"/>
                </a:cxn>
                <a:cxn ang="0">
                  <a:pos x="846" y="60"/>
                </a:cxn>
                <a:cxn ang="0">
                  <a:pos x="846" y="60"/>
                </a:cxn>
                <a:cxn ang="0">
                  <a:pos x="846" y="48"/>
                </a:cxn>
                <a:cxn ang="0">
                  <a:pos x="842" y="38"/>
                </a:cxn>
                <a:cxn ang="0">
                  <a:pos x="836" y="26"/>
                </a:cxn>
                <a:cxn ang="0">
                  <a:pos x="830" y="18"/>
                </a:cxn>
                <a:cxn ang="0">
                  <a:pos x="820" y="10"/>
                </a:cxn>
                <a:cxn ang="0">
                  <a:pos x="810" y="6"/>
                </a:cxn>
                <a:cxn ang="0">
                  <a:pos x="800" y="2"/>
                </a:cxn>
                <a:cxn ang="0">
                  <a:pos x="788" y="0"/>
                </a:cxn>
                <a:cxn ang="0">
                  <a:pos x="60" y="0"/>
                </a:cxn>
                <a:cxn ang="0">
                  <a:pos x="60" y="0"/>
                </a:cxn>
                <a:cxn ang="0">
                  <a:pos x="48" y="2"/>
                </a:cxn>
                <a:cxn ang="0">
                  <a:pos x="36" y="6"/>
                </a:cxn>
                <a:cxn ang="0">
                  <a:pos x="26" y="10"/>
                </a:cxn>
                <a:cxn ang="0">
                  <a:pos x="18" y="18"/>
                </a:cxn>
                <a:cxn ang="0">
                  <a:pos x="10" y="26"/>
                </a:cxn>
                <a:cxn ang="0">
                  <a:pos x="6" y="38"/>
                </a:cxn>
                <a:cxn ang="0">
                  <a:pos x="2" y="48"/>
                </a:cxn>
                <a:cxn ang="0">
                  <a:pos x="0" y="60"/>
                </a:cxn>
                <a:cxn ang="0">
                  <a:pos x="0" y="60"/>
                </a:cxn>
              </a:cxnLst>
              <a:rect l="0" t="0" r="r" b="b"/>
              <a:pathLst>
                <a:path w="846" h="120">
                  <a:moveTo>
                    <a:pt x="0" y="60"/>
                  </a:moveTo>
                  <a:lnTo>
                    <a:pt x="0" y="60"/>
                  </a:lnTo>
                  <a:lnTo>
                    <a:pt x="2" y="72"/>
                  </a:lnTo>
                  <a:lnTo>
                    <a:pt x="6" y="84"/>
                  </a:lnTo>
                  <a:lnTo>
                    <a:pt x="10" y="94"/>
                  </a:lnTo>
                  <a:lnTo>
                    <a:pt x="18" y="102"/>
                  </a:lnTo>
                  <a:lnTo>
                    <a:pt x="26" y="110"/>
                  </a:lnTo>
                  <a:lnTo>
                    <a:pt x="36" y="116"/>
                  </a:lnTo>
                  <a:lnTo>
                    <a:pt x="48" y="118"/>
                  </a:lnTo>
                  <a:lnTo>
                    <a:pt x="60" y="120"/>
                  </a:lnTo>
                  <a:lnTo>
                    <a:pt x="788" y="120"/>
                  </a:lnTo>
                  <a:lnTo>
                    <a:pt x="788" y="120"/>
                  </a:lnTo>
                  <a:lnTo>
                    <a:pt x="800" y="118"/>
                  </a:lnTo>
                  <a:lnTo>
                    <a:pt x="810" y="116"/>
                  </a:lnTo>
                  <a:lnTo>
                    <a:pt x="820" y="110"/>
                  </a:lnTo>
                  <a:lnTo>
                    <a:pt x="830" y="102"/>
                  </a:lnTo>
                  <a:lnTo>
                    <a:pt x="836" y="94"/>
                  </a:lnTo>
                  <a:lnTo>
                    <a:pt x="842" y="84"/>
                  </a:lnTo>
                  <a:lnTo>
                    <a:pt x="846" y="72"/>
                  </a:lnTo>
                  <a:lnTo>
                    <a:pt x="846" y="60"/>
                  </a:lnTo>
                  <a:lnTo>
                    <a:pt x="846" y="60"/>
                  </a:lnTo>
                  <a:lnTo>
                    <a:pt x="846" y="48"/>
                  </a:lnTo>
                  <a:lnTo>
                    <a:pt x="842" y="38"/>
                  </a:lnTo>
                  <a:lnTo>
                    <a:pt x="836" y="26"/>
                  </a:lnTo>
                  <a:lnTo>
                    <a:pt x="830" y="18"/>
                  </a:lnTo>
                  <a:lnTo>
                    <a:pt x="820" y="10"/>
                  </a:lnTo>
                  <a:lnTo>
                    <a:pt x="810" y="6"/>
                  </a:lnTo>
                  <a:lnTo>
                    <a:pt x="800" y="2"/>
                  </a:lnTo>
                  <a:lnTo>
                    <a:pt x="788" y="0"/>
                  </a:lnTo>
                  <a:lnTo>
                    <a:pt x="60" y="0"/>
                  </a:lnTo>
                  <a:lnTo>
                    <a:pt x="60" y="0"/>
                  </a:lnTo>
                  <a:lnTo>
                    <a:pt x="48" y="2"/>
                  </a:lnTo>
                  <a:lnTo>
                    <a:pt x="36" y="6"/>
                  </a:lnTo>
                  <a:lnTo>
                    <a:pt x="26" y="10"/>
                  </a:lnTo>
                  <a:lnTo>
                    <a:pt x="18" y="18"/>
                  </a:lnTo>
                  <a:lnTo>
                    <a:pt x="10" y="26"/>
                  </a:lnTo>
                  <a:lnTo>
                    <a:pt x="6" y="38"/>
                  </a:lnTo>
                  <a:lnTo>
                    <a:pt x="2" y="48"/>
                  </a:lnTo>
                  <a:lnTo>
                    <a:pt x="0" y="60"/>
                  </a:lnTo>
                  <a:lnTo>
                    <a:pt x="0" y="6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51" name="Freeform 83"/>
            <p:cNvSpPr/>
            <p:nvPr/>
          </p:nvSpPr>
          <p:spPr bwMode="auto">
            <a:xfrm>
              <a:off x="6357938" y="-1179513"/>
              <a:ext cx="815975" cy="190500"/>
            </a:xfrm>
            <a:custGeom>
              <a:avLst/>
              <a:gdLst/>
              <a:ahLst/>
              <a:cxnLst>
                <a:cxn ang="0">
                  <a:pos x="454" y="120"/>
                </a:cxn>
                <a:cxn ang="0">
                  <a:pos x="454" y="120"/>
                </a:cxn>
                <a:cxn ang="0">
                  <a:pos x="466" y="118"/>
                </a:cxn>
                <a:cxn ang="0">
                  <a:pos x="478" y="114"/>
                </a:cxn>
                <a:cxn ang="0">
                  <a:pos x="488" y="110"/>
                </a:cxn>
                <a:cxn ang="0">
                  <a:pos x="496" y="102"/>
                </a:cxn>
                <a:cxn ang="0">
                  <a:pos x="504" y="94"/>
                </a:cxn>
                <a:cxn ang="0">
                  <a:pos x="510" y="84"/>
                </a:cxn>
                <a:cxn ang="0">
                  <a:pos x="514" y="72"/>
                </a:cxn>
                <a:cxn ang="0">
                  <a:pos x="514" y="60"/>
                </a:cxn>
                <a:cxn ang="0">
                  <a:pos x="514" y="60"/>
                </a:cxn>
                <a:cxn ang="0">
                  <a:pos x="514" y="48"/>
                </a:cxn>
                <a:cxn ang="0">
                  <a:pos x="510" y="36"/>
                </a:cxn>
                <a:cxn ang="0">
                  <a:pos x="504" y="26"/>
                </a:cxn>
                <a:cxn ang="0">
                  <a:pos x="496" y="18"/>
                </a:cxn>
                <a:cxn ang="0">
                  <a:pos x="488" y="10"/>
                </a:cxn>
                <a:cxn ang="0">
                  <a:pos x="478" y="4"/>
                </a:cxn>
                <a:cxn ang="0">
                  <a:pos x="466" y="2"/>
                </a:cxn>
                <a:cxn ang="0">
                  <a:pos x="454" y="0"/>
                </a:cxn>
                <a:cxn ang="0">
                  <a:pos x="60" y="0"/>
                </a:cxn>
                <a:cxn ang="0">
                  <a:pos x="60" y="0"/>
                </a:cxn>
                <a:cxn ang="0">
                  <a:pos x="48" y="2"/>
                </a:cxn>
                <a:cxn ang="0">
                  <a:pos x="38" y="4"/>
                </a:cxn>
                <a:cxn ang="0">
                  <a:pos x="26" y="10"/>
                </a:cxn>
                <a:cxn ang="0">
                  <a:pos x="18" y="18"/>
                </a:cxn>
                <a:cxn ang="0">
                  <a:pos x="10" y="26"/>
                </a:cxn>
                <a:cxn ang="0">
                  <a:pos x="6" y="36"/>
                </a:cxn>
                <a:cxn ang="0">
                  <a:pos x="2" y="48"/>
                </a:cxn>
                <a:cxn ang="0">
                  <a:pos x="0" y="60"/>
                </a:cxn>
                <a:cxn ang="0">
                  <a:pos x="0" y="60"/>
                </a:cxn>
                <a:cxn ang="0">
                  <a:pos x="2" y="72"/>
                </a:cxn>
                <a:cxn ang="0">
                  <a:pos x="6" y="84"/>
                </a:cxn>
                <a:cxn ang="0">
                  <a:pos x="10" y="94"/>
                </a:cxn>
                <a:cxn ang="0">
                  <a:pos x="18" y="102"/>
                </a:cxn>
                <a:cxn ang="0">
                  <a:pos x="26" y="110"/>
                </a:cxn>
                <a:cxn ang="0">
                  <a:pos x="38" y="114"/>
                </a:cxn>
                <a:cxn ang="0">
                  <a:pos x="48" y="118"/>
                </a:cxn>
                <a:cxn ang="0">
                  <a:pos x="60" y="120"/>
                </a:cxn>
                <a:cxn ang="0">
                  <a:pos x="454" y="120"/>
                </a:cxn>
              </a:cxnLst>
              <a:rect l="0" t="0" r="r" b="b"/>
              <a:pathLst>
                <a:path w="514" h="120">
                  <a:moveTo>
                    <a:pt x="454" y="120"/>
                  </a:moveTo>
                  <a:lnTo>
                    <a:pt x="454" y="120"/>
                  </a:lnTo>
                  <a:lnTo>
                    <a:pt x="466" y="118"/>
                  </a:lnTo>
                  <a:lnTo>
                    <a:pt x="478" y="114"/>
                  </a:lnTo>
                  <a:lnTo>
                    <a:pt x="488" y="110"/>
                  </a:lnTo>
                  <a:lnTo>
                    <a:pt x="496" y="102"/>
                  </a:lnTo>
                  <a:lnTo>
                    <a:pt x="504" y="94"/>
                  </a:lnTo>
                  <a:lnTo>
                    <a:pt x="510" y="84"/>
                  </a:lnTo>
                  <a:lnTo>
                    <a:pt x="514" y="72"/>
                  </a:lnTo>
                  <a:lnTo>
                    <a:pt x="514" y="60"/>
                  </a:lnTo>
                  <a:lnTo>
                    <a:pt x="514" y="60"/>
                  </a:lnTo>
                  <a:lnTo>
                    <a:pt x="514" y="48"/>
                  </a:lnTo>
                  <a:lnTo>
                    <a:pt x="510" y="36"/>
                  </a:lnTo>
                  <a:lnTo>
                    <a:pt x="504" y="26"/>
                  </a:lnTo>
                  <a:lnTo>
                    <a:pt x="496" y="18"/>
                  </a:lnTo>
                  <a:lnTo>
                    <a:pt x="488" y="10"/>
                  </a:lnTo>
                  <a:lnTo>
                    <a:pt x="478" y="4"/>
                  </a:lnTo>
                  <a:lnTo>
                    <a:pt x="466" y="2"/>
                  </a:lnTo>
                  <a:lnTo>
                    <a:pt x="454" y="0"/>
                  </a:lnTo>
                  <a:lnTo>
                    <a:pt x="60" y="0"/>
                  </a:lnTo>
                  <a:lnTo>
                    <a:pt x="60" y="0"/>
                  </a:lnTo>
                  <a:lnTo>
                    <a:pt x="48" y="2"/>
                  </a:lnTo>
                  <a:lnTo>
                    <a:pt x="38" y="4"/>
                  </a:lnTo>
                  <a:lnTo>
                    <a:pt x="26" y="10"/>
                  </a:lnTo>
                  <a:lnTo>
                    <a:pt x="18" y="18"/>
                  </a:lnTo>
                  <a:lnTo>
                    <a:pt x="10" y="26"/>
                  </a:lnTo>
                  <a:lnTo>
                    <a:pt x="6" y="36"/>
                  </a:lnTo>
                  <a:lnTo>
                    <a:pt x="2" y="48"/>
                  </a:lnTo>
                  <a:lnTo>
                    <a:pt x="0" y="60"/>
                  </a:lnTo>
                  <a:lnTo>
                    <a:pt x="0" y="60"/>
                  </a:lnTo>
                  <a:lnTo>
                    <a:pt x="2" y="72"/>
                  </a:lnTo>
                  <a:lnTo>
                    <a:pt x="6" y="84"/>
                  </a:lnTo>
                  <a:lnTo>
                    <a:pt x="10" y="94"/>
                  </a:lnTo>
                  <a:lnTo>
                    <a:pt x="18" y="102"/>
                  </a:lnTo>
                  <a:lnTo>
                    <a:pt x="26" y="110"/>
                  </a:lnTo>
                  <a:lnTo>
                    <a:pt x="38" y="114"/>
                  </a:lnTo>
                  <a:lnTo>
                    <a:pt x="48" y="118"/>
                  </a:lnTo>
                  <a:lnTo>
                    <a:pt x="60" y="120"/>
                  </a:lnTo>
                  <a:lnTo>
                    <a:pt x="454" y="12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grpSp>
      <p:sp>
        <p:nvSpPr>
          <p:cNvPr id="155" name="矩形: 圆角 154"/>
          <p:cNvSpPr/>
          <p:nvPr/>
        </p:nvSpPr>
        <p:spPr>
          <a:xfrm>
            <a:off x="6292089" y="2662739"/>
            <a:ext cx="5552739" cy="3888469"/>
          </a:xfrm>
          <a:prstGeom prst="roundRect">
            <a:avLst>
              <a:gd name="adj" fmla="val 5248"/>
            </a:avLst>
          </a:prstGeom>
          <a:noFill/>
          <a:ln w="19050">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56" name="矩形 155"/>
          <p:cNvSpPr/>
          <p:nvPr/>
        </p:nvSpPr>
        <p:spPr>
          <a:xfrm>
            <a:off x="7641096" y="2489116"/>
            <a:ext cx="3084866" cy="371662"/>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提升产品原料安全性</a:t>
            </a:r>
            <a:endParaRPr kumimoji="1" lang="zh-CN" altLang="zh-CN" sz="1600" b="1" dirty="0">
              <a:solidFill>
                <a:srgbClr val="1A1918"/>
              </a:solidFill>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72" name="Group 9277"/>
          <p:cNvGrpSpPr/>
          <p:nvPr/>
        </p:nvGrpSpPr>
        <p:grpSpPr>
          <a:xfrm>
            <a:off x="7287888" y="2492388"/>
            <a:ext cx="396000" cy="396000"/>
            <a:chOff x="5410201" y="1638301"/>
            <a:chExt cx="866775" cy="796925"/>
          </a:xfrm>
          <a:effectLst>
            <a:outerShdw blurRad="50800" dist="38100" dir="2700000" algn="tl" rotWithShape="0">
              <a:prstClr val="black">
                <a:alpha val="40000"/>
              </a:prstClr>
            </a:outerShdw>
          </a:effectLst>
        </p:grpSpPr>
        <p:sp>
          <p:nvSpPr>
            <p:cNvPr id="173" name="Freeform 710"/>
            <p:cNvSpPr/>
            <p:nvPr/>
          </p:nvSpPr>
          <p:spPr bwMode="auto">
            <a:xfrm>
              <a:off x="5410201" y="1638301"/>
              <a:ext cx="809625" cy="796925"/>
            </a:xfrm>
            <a:custGeom>
              <a:avLst/>
              <a:gdLst>
                <a:gd name="T0" fmla="*/ 255 w 510"/>
                <a:gd name="T1" fmla="*/ 502 h 502"/>
                <a:gd name="T2" fmla="*/ 205 w 510"/>
                <a:gd name="T3" fmla="*/ 497 h 502"/>
                <a:gd name="T4" fmla="*/ 157 w 510"/>
                <a:gd name="T5" fmla="*/ 482 h 502"/>
                <a:gd name="T6" fmla="*/ 113 w 510"/>
                <a:gd name="T7" fmla="*/ 460 h 502"/>
                <a:gd name="T8" fmla="*/ 76 w 510"/>
                <a:gd name="T9" fmla="*/ 428 h 502"/>
                <a:gd name="T10" fmla="*/ 45 w 510"/>
                <a:gd name="T11" fmla="*/ 391 h 502"/>
                <a:gd name="T12" fmla="*/ 21 w 510"/>
                <a:gd name="T13" fmla="*/ 349 h 502"/>
                <a:gd name="T14" fmla="*/ 6 w 510"/>
                <a:gd name="T15" fmla="*/ 302 h 502"/>
                <a:gd name="T16" fmla="*/ 0 w 510"/>
                <a:gd name="T17" fmla="*/ 251 h 502"/>
                <a:gd name="T18" fmla="*/ 3 w 510"/>
                <a:gd name="T19" fmla="*/ 225 h 502"/>
                <a:gd name="T20" fmla="*/ 12 w 510"/>
                <a:gd name="T21" fmla="*/ 177 h 502"/>
                <a:gd name="T22" fmla="*/ 31 w 510"/>
                <a:gd name="T23" fmla="*/ 131 h 502"/>
                <a:gd name="T24" fmla="*/ 59 w 510"/>
                <a:gd name="T25" fmla="*/ 91 h 502"/>
                <a:gd name="T26" fmla="*/ 94 w 510"/>
                <a:gd name="T27" fmla="*/ 58 h 502"/>
                <a:gd name="T28" fmla="*/ 134 w 510"/>
                <a:gd name="T29" fmla="*/ 30 h 502"/>
                <a:gd name="T30" fmla="*/ 179 w 510"/>
                <a:gd name="T31" fmla="*/ 11 h 502"/>
                <a:gd name="T32" fmla="*/ 230 w 510"/>
                <a:gd name="T33" fmla="*/ 1 h 502"/>
                <a:gd name="T34" fmla="*/ 255 w 510"/>
                <a:gd name="T35" fmla="*/ 0 h 502"/>
                <a:gd name="T36" fmla="*/ 307 w 510"/>
                <a:gd name="T37" fmla="*/ 5 h 502"/>
                <a:gd name="T38" fmla="*/ 355 w 510"/>
                <a:gd name="T39" fmla="*/ 19 h 502"/>
                <a:gd name="T40" fmla="*/ 398 w 510"/>
                <a:gd name="T41" fmla="*/ 43 h 502"/>
                <a:gd name="T42" fmla="*/ 436 w 510"/>
                <a:gd name="T43" fmla="*/ 73 h 502"/>
                <a:gd name="T44" fmla="*/ 467 w 510"/>
                <a:gd name="T45" fmla="*/ 111 h 502"/>
                <a:gd name="T46" fmla="*/ 491 w 510"/>
                <a:gd name="T47" fmla="*/ 153 h 502"/>
                <a:gd name="T48" fmla="*/ 506 w 510"/>
                <a:gd name="T49" fmla="*/ 201 h 502"/>
                <a:gd name="T50" fmla="*/ 510 w 510"/>
                <a:gd name="T51" fmla="*/ 251 h 502"/>
                <a:gd name="T52" fmla="*/ 509 w 510"/>
                <a:gd name="T53" fmla="*/ 277 h 502"/>
                <a:gd name="T54" fmla="*/ 500 w 510"/>
                <a:gd name="T55" fmla="*/ 326 h 502"/>
                <a:gd name="T56" fmla="*/ 480 w 510"/>
                <a:gd name="T57" fmla="*/ 371 h 502"/>
                <a:gd name="T58" fmla="*/ 453 w 510"/>
                <a:gd name="T59" fmla="*/ 410 h 502"/>
                <a:gd name="T60" fmla="*/ 418 w 510"/>
                <a:gd name="T61" fmla="*/ 445 h 502"/>
                <a:gd name="T62" fmla="*/ 377 w 510"/>
                <a:gd name="T63" fmla="*/ 472 h 502"/>
                <a:gd name="T64" fmla="*/ 331 w 510"/>
                <a:gd name="T65" fmla="*/ 491 h 502"/>
                <a:gd name="T66" fmla="*/ 282 w 510"/>
                <a:gd name="T67" fmla="*/ 501 h 502"/>
                <a:gd name="T68" fmla="*/ 255 w 510"/>
                <a:gd name="T69"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02">
                  <a:moveTo>
                    <a:pt x="255" y="502"/>
                  </a:moveTo>
                  <a:lnTo>
                    <a:pt x="255" y="502"/>
                  </a:lnTo>
                  <a:lnTo>
                    <a:pt x="230" y="501"/>
                  </a:lnTo>
                  <a:lnTo>
                    <a:pt x="205" y="497"/>
                  </a:lnTo>
                  <a:lnTo>
                    <a:pt x="179" y="491"/>
                  </a:lnTo>
                  <a:lnTo>
                    <a:pt x="157" y="482"/>
                  </a:lnTo>
                  <a:lnTo>
                    <a:pt x="134" y="472"/>
                  </a:lnTo>
                  <a:lnTo>
                    <a:pt x="113" y="460"/>
                  </a:lnTo>
                  <a:lnTo>
                    <a:pt x="94" y="445"/>
                  </a:lnTo>
                  <a:lnTo>
                    <a:pt x="76" y="428"/>
                  </a:lnTo>
                  <a:lnTo>
                    <a:pt x="59" y="410"/>
                  </a:lnTo>
                  <a:lnTo>
                    <a:pt x="45" y="391"/>
                  </a:lnTo>
                  <a:lnTo>
                    <a:pt x="31" y="371"/>
                  </a:lnTo>
                  <a:lnTo>
                    <a:pt x="21" y="349"/>
                  </a:lnTo>
                  <a:lnTo>
                    <a:pt x="12" y="326"/>
                  </a:lnTo>
                  <a:lnTo>
                    <a:pt x="6" y="302"/>
                  </a:lnTo>
                  <a:lnTo>
                    <a:pt x="3" y="277"/>
                  </a:lnTo>
                  <a:lnTo>
                    <a:pt x="0" y="251"/>
                  </a:lnTo>
                  <a:lnTo>
                    <a:pt x="0" y="251"/>
                  </a:lnTo>
                  <a:lnTo>
                    <a:pt x="3" y="225"/>
                  </a:lnTo>
                  <a:lnTo>
                    <a:pt x="6" y="201"/>
                  </a:lnTo>
                  <a:lnTo>
                    <a:pt x="12" y="177"/>
                  </a:lnTo>
                  <a:lnTo>
                    <a:pt x="21" y="153"/>
                  </a:lnTo>
                  <a:lnTo>
                    <a:pt x="31" y="131"/>
                  </a:lnTo>
                  <a:lnTo>
                    <a:pt x="45" y="111"/>
                  </a:lnTo>
                  <a:lnTo>
                    <a:pt x="59" y="91"/>
                  </a:lnTo>
                  <a:lnTo>
                    <a:pt x="76" y="73"/>
                  </a:lnTo>
                  <a:lnTo>
                    <a:pt x="94" y="58"/>
                  </a:lnTo>
                  <a:lnTo>
                    <a:pt x="113" y="43"/>
                  </a:lnTo>
                  <a:lnTo>
                    <a:pt x="134" y="30"/>
                  </a:lnTo>
                  <a:lnTo>
                    <a:pt x="157" y="19"/>
                  </a:lnTo>
                  <a:lnTo>
                    <a:pt x="179" y="11"/>
                  </a:lnTo>
                  <a:lnTo>
                    <a:pt x="205" y="5"/>
                  </a:lnTo>
                  <a:lnTo>
                    <a:pt x="230" y="1"/>
                  </a:lnTo>
                  <a:lnTo>
                    <a:pt x="255" y="0"/>
                  </a:lnTo>
                  <a:lnTo>
                    <a:pt x="255" y="0"/>
                  </a:lnTo>
                  <a:lnTo>
                    <a:pt x="282" y="1"/>
                  </a:lnTo>
                  <a:lnTo>
                    <a:pt x="307" y="5"/>
                  </a:lnTo>
                  <a:lnTo>
                    <a:pt x="331" y="11"/>
                  </a:lnTo>
                  <a:lnTo>
                    <a:pt x="355" y="19"/>
                  </a:lnTo>
                  <a:lnTo>
                    <a:pt x="377" y="30"/>
                  </a:lnTo>
                  <a:lnTo>
                    <a:pt x="398" y="43"/>
                  </a:lnTo>
                  <a:lnTo>
                    <a:pt x="418" y="58"/>
                  </a:lnTo>
                  <a:lnTo>
                    <a:pt x="436" y="73"/>
                  </a:lnTo>
                  <a:lnTo>
                    <a:pt x="453" y="91"/>
                  </a:lnTo>
                  <a:lnTo>
                    <a:pt x="467" y="111"/>
                  </a:lnTo>
                  <a:lnTo>
                    <a:pt x="480" y="131"/>
                  </a:lnTo>
                  <a:lnTo>
                    <a:pt x="491" y="153"/>
                  </a:lnTo>
                  <a:lnTo>
                    <a:pt x="500" y="177"/>
                  </a:lnTo>
                  <a:lnTo>
                    <a:pt x="506" y="201"/>
                  </a:lnTo>
                  <a:lnTo>
                    <a:pt x="509" y="225"/>
                  </a:lnTo>
                  <a:lnTo>
                    <a:pt x="510" y="251"/>
                  </a:lnTo>
                  <a:lnTo>
                    <a:pt x="510" y="251"/>
                  </a:lnTo>
                  <a:lnTo>
                    <a:pt x="509" y="277"/>
                  </a:lnTo>
                  <a:lnTo>
                    <a:pt x="506" y="302"/>
                  </a:lnTo>
                  <a:lnTo>
                    <a:pt x="500" y="326"/>
                  </a:lnTo>
                  <a:lnTo>
                    <a:pt x="491" y="349"/>
                  </a:lnTo>
                  <a:lnTo>
                    <a:pt x="480" y="371"/>
                  </a:lnTo>
                  <a:lnTo>
                    <a:pt x="467" y="391"/>
                  </a:lnTo>
                  <a:lnTo>
                    <a:pt x="453" y="410"/>
                  </a:lnTo>
                  <a:lnTo>
                    <a:pt x="436" y="428"/>
                  </a:lnTo>
                  <a:lnTo>
                    <a:pt x="418" y="445"/>
                  </a:lnTo>
                  <a:lnTo>
                    <a:pt x="398" y="460"/>
                  </a:lnTo>
                  <a:lnTo>
                    <a:pt x="377" y="472"/>
                  </a:lnTo>
                  <a:lnTo>
                    <a:pt x="355" y="482"/>
                  </a:lnTo>
                  <a:lnTo>
                    <a:pt x="331" y="491"/>
                  </a:lnTo>
                  <a:lnTo>
                    <a:pt x="307" y="497"/>
                  </a:lnTo>
                  <a:lnTo>
                    <a:pt x="282" y="501"/>
                  </a:lnTo>
                  <a:lnTo>
                    <a:pt x="255" y="502"/>
                  </a:lnTo>
                  <a:lnTo>
                    <a:pt x="255" y="502"/>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75" name="Freeform 712"/>
            <p:cNvSpPr/>
            <p:nvPr/>
          </p:nvSpPr>
          <p:spPr bwMode="auto">
            <a:xfrm>
              <a:off x="5472113" y="2243138"/>
              <a:ext cx="688975" cy="192088"/>
            </a:xfrm>
            <a:custGeom>
              <a:avLst/>
              <a:gdLst>
                <a:gd name="T0" fmla="*/ 0 w 434"/>
                <a:gd name="T1" fmla="*/ 0 h 121"/>
                <a:gd name="T2" fmla="*/ 0 w 434"/>
                <a:gd name="T3" fmla="*/ 0 h 121"/>
                <a:gd name="T4" fmla="*/ 8 w 434"/>
                <a:gd name="T5" fmla="*/ 14 h 121"/>
                <a:gd name="T6" fmla="*/ 18 w 434"/>
                <a:gd name="T7" fmla="*/ 27 h 121"/>
                <a:gd name="T8" fmla="*/ 29 w 434"/>
                <a:gd name="T9" fmla="*/ 39 h 121"/>
                <a:gd name="T10" fmla="*/ 39 w 434"/>
                <a:gd name="T11" fmla="*/ 50 h 121"/>
                <a:gd name="T12" fmla="*/ 51 w 434"/>
                <a:gd name="T13" fmla="*/ 61 h 121"/>
                <a:gd name="T14" fmla="*/ 63 w 434"/>
                <a:gd name="T15" fmla="*/ 70 h 121"/>
                <a:gd name="T16" fmla="*/ 77 w 434"/>
                <a:gd name="T17" fmla="*/ 80 h 121"/>
                <a:gd name="T18" fmla="*/ 90 w 434"/>
                <a:gd name="T19" fmla="*/ 88 h 121"/>
                <a:gd name="T20" fmla="*/ 104 w 434"/>
                <a:gd name="T21" fmla="*/ 95 h 121"/>
                <a:gd name="T22" fmla="*/ 119 w 434"/>
                <a:gd name="T23" fmla="*/ 101 h 121"/>
                <a:gd name="T24" fmla="*/ 134 w 434"/>
                <a:gd name="T25" fmla="*/ 107 h 121"/>
                <a:gd name="T26" fmla="*/ 150 w 434"/>
                <a:gd name="T27" fmla="*/ 112 h 121"/>
                <a:gd name="T28" fmla="*/ 167 w 434"/>
                <a:gd name="T29" fmla="*/ 116 h 121"/>
                <a:gd name="T30" fmla="*/ 183 w 434"/>
                <a:gd name="T31" fmla="*/ 118 h 121"/>
                <a:gd name="T32" fmla="*/ 199 w 434"/>
                <a:gd name="T33" fmla="*/ 121 h 121"/>
                <a:gd name="T34" fmla="*/ 216 w 434"/>
                <a:gd name="T35" fmla="*/ 121 h 121"/>
                <a:gd name="T36" fmla="*/ 216 w 434"/>
                <a:gd name="T37" fmla="*/ 121 h 121"/>
                <a:gd name="T38" fmla="*/ 234 w 434"/>
                <a:gd name="T39" fmla="*/ 121 h 121"/>
                <a:gd name="T40" fmla="*/ 251 w 434"/>
                <a:gd name="T41" fmla="*/ 118 h 121"/>
                <a:gd name="T42" fmla="*/ 267 w 434"/>
                <a:gd name="T43" fmla="*/ 116 h 121"/>
                <a:gd name="T44" fmla="*/ 284 w 434"/>
                <a:gd name="T45" fmla="*/ 112 h 121"/>
                <a:gd name="T46" fmla="*/ 299 w 434"/>
                <a:gd name="T47" fmla="*/ 107 h 121"/>
                <a:gd name="T48" fmla="*/ 314 w 434"/>
                <a:gd name="T49" fmla="*/ 101 h 121"/>
                <a:gd name="T50" fmla="*/ 329 w 434"/>
                <a:gd name="T51" fmla="*/ 95 h 121"/>
                <a:gd name="T52" fmla="*/ 344 w 434"/>
                <a:gd name="T53" fmla="*/ 88 h 121"/>
                <a:gd name="T54" fmla="*/ 357 w 434"/>
                <a:gd name="T55" fmla="*/ 80 h 121"/>
                <a:gd name="T56" fmla="*/ 370 w 434"/>
                <a:gd name="T57" fmla="*/ 70 h 121"/>
                <a:gd name="T58" fmla="*/ 382 w 434"/>
                <a:gd name="T59" fmla="*/ 61 h 121"/>
                <a:gd name="T60" fmla="*/ 394 w 434"/>
                <a:gd name="T61" fmla="*/ 50 h 121"/>
                <a:gd name="T62" fmla="*/ 405 w 434"/>
                <a:gd name="T63" fmla="*/ 39 h 121"/>
                <a:gd name="T64" fmla="*/ 416 w 434"/>
                <a:gd name="T65" fmla="*/ 27 h 121"/>
                <a:gd name="T66" fmla="*/ 426 w 434"/>
                <a:gd name="T67" fmla="*/ 14 h 121"/>
                <a:gd name="T68" fmla="*/ 434 w 434"/>
                <a:gd name="T69" fmla="*/ 0 h 121"/>
                <a:gd name="T70" fmla="*/ 0 w 434"/>
                <a:gd name="T71"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4" h="121">
                  <a:moveTo>
                    <a:pt x="0" y="0"/>
                  </a:moveTo>
                  <a:lnTo>
                    <a:pt x="0" y="0"/>
                  </a:lnTo>
                  <a:lnTo>
                    <a:pt x="8" y="14"/>
                  </a:lnTo>
                  <a:lnTo>
                    <a:pt x="18" y="27"/>
                  </a:lnTo>
                  <a:lnTo>
                    <a:pt x="29" y="39"/>
                  </a:lnTo>
                  <a:lnTo>
                    <a:pt x="39" y="50"/>
                  </a:lnTo>
                  <a:lnTo>
                    <a:pt x="51" y="61"/>
                  </a:lnTo>
                  <a:lnTo>
                    <a:pt x="63" y="70"/>
                  </a:lnTo>
                  <a:lnTo>
                    <a:pt x="77" y="80"/>
                  </a:lnTo>
                  <a:lnTo>
                    <a:pt x="90" y="88"/>
                  </a:lnTo>
                  <a:lnTo>
                    <a:pt x="104" y="95"/>
                  </a:lnTo>
                  <a:lnTo>
                    <a:pt x="119" y="101"/>
                  </a:lnTo>
                  <a:lnTo>
                    <a:pt x="134" y="107"/>
                  </a:lnTo>
                  <a:lnTo>
                    <a:pt x="150" y="112"/>
                  </a:lnTo>
                  <a:lnTo>
                    <a:pt x="167" y="116"/>
                  </a:lnTo>
                  <a:lnTo>
                    <a:pt x="183" y="118"/>
                  </a:lnTo>
                  <a:lnTo>
                    <a:pt x="199" y="121"/>
                  </a:lnTo>
                  <a:lnTo>
                    <a:pt x="216" y="121"/>
                  </a:lnTo>
                  <a:lnTo>
                    <a:pt x="216" y="121"/>
                  </a:lnTo>
                  <a:lnTo>
                    <a:pt x="234" y="121"/>
                  </a:lnTo>
                  <a:lnTo>
                    <a:pt x="251" y="118"/>
                  </a:lnTo>
                  <a:lnTo>
                    <a:pt x="267" y="116"/>
                  </a:lnTo>
                  <a:lnTo>
                    <a:pt x="284" y="112"/>
                  </a:lnTo>
                  <a:lnTo>
                    <a:pt x="299" y="107"/>
                  </a:lnTo>
                  <a:lnTo>
                    <a:pt x="314" y="101"/>
                  </a:lnTo>
                  <a:lnTo>
                    <a:pt x="329" y="95"/>
                  </a:lnTo>
                  <a:lnTo>
                    <a:pt x="344" y="88"/>
                  </a:lnTo>
                  <a:lnTo>
                    <a:pt x="357" y="80"/>
                  </a:lnTo>
                  <a:lnTo>
                    <a:pt x="370" y="70"/>
                  </a:lnTo>
                  <a:lnTo>
                    <a:pt x="382" y="61"/>
                  </a:lnTo>
                  <a:lnTo>
                    <a:pt x="394" y="50"/>
                  </a:lnTo>
                  <a:lnTo>
                    <a:pt x="405" y="39"/>
                  </a:lnTo>
                  <a:lnTo>
                    <a:pt x="416" y="27"/>
                  </a:lnTo>
                  <a:lnTo>
                    <a:pt x="426" y="14"/>
                  </a:lnTo>
                  <a:lnTo>
                    <a:pt x="434" y="0"/>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76" name="Freeform 713"/>
            <p:cNvSpPr>
              <a:spLocks noEditPoints="1"/>
            </p:cNvSpPr>
            <p:nvPr/>
          </p:nvSpPr>
          <p:spPr bwMode="auto">
            <a:xfrm>
              <a:off x="5610226" y="1792288"/>
              <a:ext cx="173038" cy="214313"/>
            </a:xfrm>
            <a:custGeom>
              <a:avLst/>
              <a:gdLst>
                <a:gd name="T0" fmla="*/ 109 w 109"/>
                <a:gd name="T1" fmla="*/ 135 h 135"/>
                <a:gd name="T2" fmla="*/ 100 w 109"/>
                <a:gd name="T3" fmla="*/ 134 h 135"/>
                <a:gd name="T4" fmla="*/ 100 w 109"/>
                <a:gd name="T5" fmla="*/ 134 h 135"/>
                <a:gd name="T6" fmla="*/ 91 w 109"/>
                <a:gd name="T7" fmla="*/ 133 h 135"/>
                <a:gd name="T8" fmla="*/ 80 w 109"/>
                <a:gd name="T9" fmla="*/ 130 h 135"/>
                <a:gd name="T10" fmla="*/ 70 w 109"/>
                <a:gd name="T11" fmla="*/ 127 h 135"/>
                <a:gd name="T12" fmla="*/ 61 w 109"/>
                <a:gd name="T13" fmla="*/ 122 h 135"/>
                <a:gd name="T14" fmla="*/ 52 w 109"/>
                <a:gd name="T15" fmla="*/ 116 h 135"/>
                <a:gd name="T16" fmla="*/ 44 w 109"/>
                <a:gd name="T17" fmla="*/ 110 h 135"/>
                <a:gd name="T18" fmla="*/ 37 w 109"/>
                <a:gd name="T19" fmla="*/ 103 h 135"/>
                <a:gd name="T20" fmla="*/ 29 w 109"/>
                <a:gd name="T21" fmla="*/ 95 h 135"/>
                <a:gd name="T22" fmla="*/ 23 w 109"/>
                <a:gd name="T23" fmla="*/ 87 h 135"/>
                <a:gd name="T24" fmla="*/ 17 w 109"/>
                <a:gd name="T25" fmla="*/ 79 h 135"/>
                <a:gd name="T26" fmla="*/ 13 w 109"/>
                <a:gd name="T27" fmla="*/ 69 h 135"/>
                <a:gd name="T28" fmla="*/ 9 w 109"/>
                <a:gd name="T29" fmla="*/ 59 h 135"/>
                <a:gd name="T30" fmla="*/ 5 w 109"/>
                <a:gd name="T31" fmla="*/ 49 h 135"/>
                <a:gd name="T32" fmla="*/ 3 w 109"/>
                <a:gd name="T33" fmla="*/ 38 h 135"/>
                <a:gd name="T34" fmla="*/ 2 w 109"/>
                <a:gd name="T35" fmla="*/ 26 h 135"/>
                <a:gd name="T36" fmla="*/ 0 w 109"/>
                <a:gd name="T37" fmla="*/ 15 h 135"/>
                <a:gd name="T38" fmla="*/ 0 w 109"/>
                <a:gd name="T39" fmla="*/ 15 h 135"/>
                <a:gd name="T40" fmla="*/ 2 w 109"/>
                <a:gd name="T41" fmla="*/ 8 h 135"/>
                <a:gd name="T42" fmla="*/ 2 w 109"/>
                <a:gd name="T43" fmla="*/ 0 h 135"/>
                <a:gd name="T44" fmla="*/ 109 w 109"/>
                <a:gd name="T45" fmla="*/ 0 h 135"/>
                <a:gd name="T46" fmla="*/ 109 w 109"/>
                <a:gd name="T47" fmla="*/ 135 h 135"/>
                <a:gd name="T48" fmla="*/ 16 w 109"/>
                <a:gd name="T49" fmla="*/ 16 h 135"/>
                <a:gd name="T50" fmla="*/ 16 w 109"/>
                <a:gd name="T51" fmla="*/ 16 h 135"/>
                <a:gd name="T52" fmla="*/ 16 w 109"/>
                <a:gd name="T53" fmla="*/ 26 h 135"/>
                <a:gd name="T54" fmla="*/ 17 w 109"/>
                <a:gd name="T55" fmla="*/ 34 h 135"/>
                <a:gd name="T56" fmla="*/ 20 w 109"/>
                <a:gd name="T57" fmla="*/ 44 h 135"/>
                <a:gd name="T58" fmla="*/ 22 w 109"/>
                <a:gd name="T59" fmla="*/ 52 h 135"/>
                <a:gd name="T60" fmla="*/ 29 w 109"/>
                <a:gd name="T61" fmla="*/ 68 h 135"/>
                <a:gd name="T62" fmla="*/ 38 w 109"/>
                <a:gd name="T63" fmla="*/ 82 h 135"/>
                <a:gd name="T64" fmla="*/ 50 w 109"/>
                <a:gd name="T65" fmla="*/ 95 h 135"/>
                <a:gd name="T66" fmla="*/ 56 w 109"/>
                <a:gd name="T67" fmla="*/ 100 h 135"/>
                <a:gd name="T68" fmla="*/ 63 w 109"/>
                <a:gd name="T69" fmla="*/ 105 h 135"/>
                <a:gd name="T70" fmla="*/ 70 w 109"/>
                <a:gd name="T71" fmla="*/ 110 h 135"/>
                <a:gd name="T72" fmla="*/ 78 w 109"/>
                <a:gd name="T73" fmla="*/ 113 h 135"/>
                <a:gd name="T74" fmla="*/ 86 w 109"/>
                <a:gd name="T75" fmla="*/ 116 h 135"/>
                <a:gd name="T76" fmla="*/ 94 w 109"/>
                <a:gd name="T77" fmla="*/ 118 h 135"/>
                <a:gd name="T78" fmla="*/ 94 w 109"/>
                <a:gd name="T79" fmla="*/ 16 h 135"/>
                <a:gd name="T80" fmla="*/ 16 w 109"/>
                <a:gd name="T81"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35">
                  <a:moveTo>
                    <a:pt x="109" y="135"/>
                  </a:moveTo>
                  <a:lnTo>
                    <a:pt x="100" y="134"/>
                  </a:lnTo>
                  <a:lnTo>
                    <a:pt x="100" y="134"/>
                  </a:lnTo>
                  <a:lnTo>
                    <a:pt x="91" y="133"/>
                  </a:lnTo>
                  <a:lnTo>
                    <a:pt x="80" y="130"/>
                  </a:lnTo>
                  <a:lnTo>
                    <a:pt x="70" y="127"/>
                  </a:lnTo>
                  <a:lnTo>
                    <a:pt x="61" y="122"/>
                  </a:lnTo>
                  <a:lnTo>
                    <a:pt x="52" y="116"/>
                  </a:lnTo>
                  <a:lnTo>
                    <a:pt x="44" y="110"/>
                  </a:lnTo>
                  <a:lnTo>
                    <a:pt x="37" y="103"/>
                  </a:lnTo>
                  <a:lnTo>
                    <a:pt x="29" y="95"/>
                  </a:lnTo>
                  <a:lnTo>
                    <a:pt x="23" y="87"/>
                  </a:lnTo>
                  <a:lnTo>
                    <a:pt x="17" y="79"/>
                  </a:lnTo>
                  <a:lnTo>
                    <a:pt x="13" y="69"/>
                  </a:lnTo>
                  <a:lnTo>
                    <a:pt x="9" y="59"/>
                  </a:lnTo>
                  <a:lnTo>
                    <a:pt x="5" y="49"/>
                  </a:lnTo>
                  <a:lnTo>
                    <a:pt x="3" y="38"/>
                  </a:lnTo>
                  <a:lnTo>
                    <a:pt x="2" y="26"/>
                  </a:lnTo>
                  <a:lnTo>
                    <a:pt x="0" y="15"/>
                  </a:lnTo>
                  <a:lnTo>
                    <a:pt x="0" y="15"/>
                  </a:lnTo>
                  <a:lnTo>
                    <a:pt x="2" y="8"/>
                  </a:lnTo>
                  <a:lnTo>
                    <a:pt x="2" y="0"/>
                  </a:lnTo>
                  <a:lnTo>
                    <a:pt x="109" y="0"/>
                  </a:lnTo>
                  <a:lnTo>
                    <a:pt x="109" y="135"/>
                  </a:lnTo>
                  <a:close/>
                  <a:moveTo>
                    <a:pt x="16" y="16"/>
                  </a:moveTo>
                  <a:lnTo>
                    <a:pt x="16" y="16"/>
                  </a:lnTo>
                  <a:lnTo>
                    <a:pt x="16" y="26"/>
                  </a:lnTo>
                  <a:lnTo>
                    <a:pt x="17" y="34"/>
                  </a:lnTo>
                  <a:lnTo>
                    <a:pt x="20" y="44"/>
                  </a:lnTo>
                  <a:lnTo>
                    <a:pt x="22" y="52"/>
                  </a:lnTo>
                  <a:lnTo>
                    <a:pt x="29" y="68"/>
                  </a:lnTo>
                  <a:lnTo>
                    <a:pt x="38" y="82"/>
                  </a:lnTo>
                  <a:lnTo>
                    <a:pt x="50" y="95"/>
                  </a:lnTo>
                  <a:lnTo>
                    <a:pt x="56" y="100"/>
                  </a:lnTo>
                  <a:lnTo>
                    <a:pt x="63" y="105"/>
                  </a:lnTo>
                  <a:lnTo>
                    <a:pt x="70" y="110"/>
                  </a:lnTo>
                  <a:lnTo>
                    <a:pt x="78" y="113"/>
                  </a:lnTo>
                  <a:lnTo>
                    <a:pt x="86" y="116"/>
                  </a:lnTo>
                  <a:lnTo>
                    <a:pt x="94" y="118"/>
                  </a:lnTo>
                  <a:lnTo>
                    <a:pt x="94" y="16"/>
                  </a:lnTo>
                  <a:lnTo>
                    <a:pt x="16" y="16"/>
                  </a:lnTo>
                  <a:close/>
                </a:path>
              </a:pathLst>
            </a:custGeom>
            <a:solidFill>
              <a:srgbClr val="E5E8E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77" name="Freeform 714"/>
            <p:cNvSpPr>
              <a:spLocks noEditPoints="1"/>
            </p:cNvSpPr>
            <p:nvPr/>
          </p:nvSpPr>
          <p:spPr bwMode="auto">
            <a:xfrm>
              <a:off x="5829301" y="1792288"/>
              <a:ext cx="171450" cy="214313"/>
            </a:xfrm>
            <a:custGeom>
              <a:avLst/>
              <a:gdLst>
                <a:gd name="T0" fmla="*/ 0 w 108"/>
                <a:gd name="T1" fmla="*/ 135 h 135"/>
                <a:gd name="T2" fmla="*/ 0 w 108"/>
                <a:gd name="T3" fmla="*/ 0 h 135"/>
                <a:gd name="T4" fmla="*/ 108 w 108"/>
                <a:gd name="T5" fmla="*/ 0 h 135"/>
                <a:gd name="T6" fmla="*/ 108 w 108"/>
                <a:gd name="T7" fmla="*/ 8 h 135"/>
                <a:gd name="T8" fmla="*/ 108 w 108"/>
                <a:gd name="T9" fmla="*/ 8 h 135"/>
                <a:gd name="T10" fmla="*/ 108 w 108"/>
                <a:gd name="T11" fmla="*/ 15 h 135"/>
                <a:gd name="T12" fmla="*/ 108 w 108"/>
                <a:gd name="T13" fmla="*/ 15 h 135"/>
                <a:gd name="T14" fmla="*/ 108 w 108"/>
                <a:gd name="T15" fmla="*/ 26 h 135"/>
                <a:gd name="T16" fmla="*/ 107 w 108"/>
                <a:gd name="T17" fmla="*/ 38 h 135"/>
                <a:gd name="T18" fmla="*/ 104 w 108"/>
                <a:gd name="T19" fmla="*/ 49 h 135"/>
                <a:gd name="T20" fmla="*/ 101 w 108"/>
                <a:gd name="T21" fmla="*/ 59 h 135"/>
                <a:gd name="T22" fmla="*/ 97 w 108"/>
                <a:gd name="T23" fmla="*/ 69 h 135"/>
                <a:gd name="T24" fmla="*/ 91 w 108"/>
                <a:gd name="T25" fmla="*/ 79 h 135"/>
                <a:gd name="T26" fmla="*/ 86 w 108"/>
                <a:gd name="T27" fmla="*/ 87 h 135"/>
                <a:gd name="T28" fmla="*/ 80 w 108"/>
                <a:gd name="T29" fmla="*/ 95 h 135"/>
                <a:gd name="T30" fmla="*/ 73 w 108"/>
                <a:gd name="T31" fmla="*/ 103 h 135"/>
                <a:gd name="T32" fmla="*/ 65 w 108"/>
                <a:gd name="T33" fmla="*/ 110 h 135"/>
                <a:gd name="T34" fmla="*/ 56 w 108"/>
                <a:gd name="T35" fmla="*/ 116 h 135"/>
                <a:gd name="T36" fmla="*/ 48 w 108"/>
                <a:gd name="T37" fmla="*/ 122 h 135"/>
                <a:gd name="T38" fmla="*/ 39 w 108"/>
                <a:gd name="T39" fmla="*/ 127 h 135"/>
                <a:gd name="T40" fmla="*/ 29 w 108"/>
                <a:gd name="T41" fmla="*/ 130 h 135"/>
                <a:gd name="T42" fmla="*/ 19 w 108"/>
                <a:gd name="T43" fmla="*/ 133 h 135"/>
                <a:gd name="T44" fmla="*/ 8 w 108"/>
                <a:gd name="T45" fmla="*/ 134 h 135"/>
                <a:gd name="T46" fmla="*/ 0 w 108"/>
                <a:gd name="T47" fmla="*/ 135 h 135"/>
                <a:gd name="T48" fmla="*/ 15 w 108"/>
                <a:gd name="T49" fmla="*/ 16 h 135"/>
                <a:gd name="T50" fmla="*/ 15 w 108"/>
                <a:gd name="T51" fmla="*/ 118 h 135"/>
                <a:gd name="T52" fmla="*/ 15 w 108"/>
                <a:gd name="T53" fmla="*/ 118 h 135"/>
                <a:gd name="T54" fmla="*/ 24 w 108"/>
                <a:gd name="T55" fmla="*/ 116 h 135"/>
                <a:gd name="T56" fmla="*/ 31 w 108"/>
                <a:gd name="T57" fmla="*/ 113 h 135"/>
                <a:gd name="T58" fmla="*/ 39 w 108"/>
                <a:gd name="T59" fmla="*/ 110 h 135"/>
                <a:gd name="T60" fmla="*/ 47 w 108"/>
                <a:gd name="T61" fmla="*/ 105 h 135"/>
                <a:gd name="T62" fmla="*/ 53 w 108"/>
                <a:gd name="T63" fmla="*/ 100 h 135"/>
                <a:gd name="T64" fmla="*/ 60 w 108"/>
                <a:gd name="T65" fmla="*/ 95 h 135"/>
                <a:gd name="T66" fmla="*/ 71 w 108"/>
                <a:gd name="T67" fmla="*/ 82 h 135"/>
                <a:gd name="T68" fmla="*/ 80 w 108"/>
                <a:gd name="T69" fmla="*/ 68 h 135"/>
                <a:gd name="T70" fmla="*/ 88 w 108"/>
                <a:gd name="T71" fmla="*/ 52 h 135"/>
                <a:gd name="T72" fmla="*/ 90 w 108"/>
                <a:gd name="T73" fmla="*/ 44 h 135"/>
                <a:gd name="T74" fmla="*/ 92 w 108"/>
                <a:gd name="T75" fmla="*/ 34 h 135"/>
                <a:gd name="T76" fmla="*/ 92 w 108"/>
                <a:gd name="T77" fmla="*/ 26 h 135"/>
                <a:gd name="T78" fmla="*/ 94 w 108"/>
                <a:gd name="T79" fmla="*/ 16 h 135"/>
                <a:gd name="T80" fmla="*/ 15 w 108"/>
                <a:gd name="T81"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 h="135">
                  <a:moveTo>
                    <a:pt x="0" y="135"/>
                  </a:moveTo>
                  <a:lnTo>
                    <a:pt x="0" y="0"/>
                  </a:lnTo>
                  <a:lnTo>
                    <a:pt x="108" y="0"/>
                  </a:lnTo>
                  <a:lnTo>
                    <a:pt x="108" y="8"/>
                  </a:lnTo>
                  <a:lnTo>
                    <a:pt x="108" y="8"/>
                  </a:lnTo>
                  <a:lnTo>
                    <a:pt x="108" y="15"/>
                  </a:lnTo>
                  <a:lnTo>
                    <a:pt x="108" y="15"/>
                  </a:lnTo>
                  <a:lnTo>
                    <a:pt x="108" y="26"/>
                  </a:lnTo>
                  <a:lnTo>
                    <a:pt x="107" y="38"/>
                  </a:lnTo>
                  <a:lnTo>
                    <a:pt x="104" y="49"/>
                  </a:lnTo>
                  <a:lnTo>
                    <a:pt x="101" y="59"/>
                  </a:lnTo>
                  <a:lnTo>
                    <a:pt x="97" y="69"/>
                  </a:lnTo>
                  <a:lnTo>
                    <a:pt x="91" y="79"/>
                  </a:lnTo>
                  <a:lnTo>
                    <a:pt x="86" y="87"/>
                  </a:lnTo>
                  <a:lnTo>
                    <a:pt x="80" y="95"/>
                  </a:lnTo>
                  <a:lnTo>
                    <a:pt x="73" y="103"/>
                  </a:lnTo>
                  <a:lnTo>
                    <a:pt x="65" y="110"/>
                  </a:lnTo>
                  <a:lnTo>
                    <a:pt x="56" y="116"/>
                  </a:lnTo>
                  <a:lnTo>
                    <a:pt x="48" y="122"/>
                  </a:lnTo>
                  <a:lnTo>
                    <a:pt x="39" y="127"/>
                  </a:lnTo>
                  <a:lnTo>
                    <a:pt x="29" y="130"/>
                  </a:lnTo>
                  <a:lnTo>
                    <a:pt x="19" y="133"/>
                  </a:lnTo>
                  <a:lnTo>
                    <a:pt x="8" y="134"/>
                  </a:lnTo>
                  <a:lnTo>
                    <a:pt x="0" y="135"/>
                  </a:lnTo>
                  <a:close/>
                  <a:moveTo>
                    <a:pt x="15" y="16"/>
                  </a:moveTo>
                  <a:lnTo>
                    <a:pt x="15" y="118"/>
                  </a:lnTo>
                  <a:lnTo>
                    <a:pt x="15" y="118"/>
                  </a:lnTo>
                  <a:lnTo>
                    <a:pt x="24" y="116"/>
                  </a:lnTo>
                  <a:lnTo>
                    <a:pt x="31" y="113"/>
                  </a:lnTo>
                  <a:lnTo>
                    <a:pt x="39" y="110"/>
                  </a:lnTo>
                  <a:lnTo>
                    <a:pt x="47" y="105"/>
                  </a:lnTo>
                  <a:lnTo>
                    <a:pt x="53" y="100"/>
                  </a:lnTo>
                  <a:lnTo>
                    <a:pt x="60" y="95"/>
                  </a:lnTo>
                  <a:lnTo>
                    <a:pt x="71" y="82"/>
                  </a:lnTo>
                  <a:lnTo>
                    <a:pt x="80" y="68"/>
                  </a:lnTo>
                  <a:lnTo>
                    <a:pt x="88" y="52"/>
                  </a:lnTo>
                  <a:lnTo>
                    <a:pt x="90" y="44"/>
                  </a:lnTo>
                  <a:lnTo>
                    <a:pt x="92" y="34"/>
                  </a:lnTo>
                  <a:lnTo>
                    <a:pt x="92" y="26"/>
                  </a:lnTo>
                  <a:lnTo>
                    <a:pt x="94" y="16"/>
                  </a:lnTo>
                  <a:lnTo>
                    <a:pt x="15" y="16"/>
                  </a:lnTo>
                  <a:close/>
                </a:path>
              </a:pathLst>
            </a:custGeom>
            <a:solidFill>
              <a:srgbClr val="E5E8E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78" name="Rectangle 715"/>
            <p:cNvSpPr>
              <a:spLocks noChangeArrowheads="1"/>
            </p:cNvSpPr>
            <p:nvPr/>
          </p:nvSpPr>
          <p:spPr bwMode="auto">
            <a:xfrm>
              <a:off x="5749926" y="2144713"/>
              <a:ext cx="111125" cy="36513"/>
            </a:xfrm>
            <a:prstGeom prst="rect">
              <a:avLst/>
            </a:prstGeom>
            <a:solidFill>
              <a:srgbClr val="E5E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79" name="Freeform 716"/>
            <p:cNvSpPr/>
            <p:nvPr/>
          </p:nvSpPr>
          <p:spPr bwMode="auto">
            <a:xfrm>
              <a:off x="5681663" y="1781176"/>
              <a:ext cx="247650" cy="261938"/>
            </a:xfrm>
            <a:custGeom>
              <a:avLst/>
              <a:gdLst>
                <a:gd name="T0" fmla="*/ 6 w 156"/>
                <a:gd name="T1" fmla="*/ 0 h 165"/>
                <a:gd name="T2" fmla="*/ 6 w 156"/>
                <a:gd name="T3" fmla="*/ 0 h 165"/>
                <a:gd name="T4" fmla="*/ 4 w 156"/>
                <a:gd name="T5" fmla="*/ 10 h 165"/>
                <a:gd name="T6" fmla="*/ 2 w 156"/>
                <a:gd name="T7" fmla="*/ 21 h 165"/>
                <a:gd name="T8" fmla="*/ 1 w 156"/>
                <a:gd name="T9" fmla="*/ 30 h 165"/>
                <a:gd name="T10" fmla="*/ 0 w 156"/>
                <a:gd name="T11" fmla="*/ 41 h 165"/>
                <a:gd name="T12" fmla="*/ 0 w 156"/>
                <a:gd name="T13" fmla="*/ 41 h 165"/>
                <a:gd name="T14" fmla="*/ 1 w 156"/>
                <a:gd name="T15" fmla="*/ 51 h 165"/>
                <a:gd name="T16" fmla="*/ 2 w 156"/>
                <a:gd name="T17" fmla="*/ 62 h 165"/>
                <a:gd name="T18" fmla="*/ 6 w 156"/>
                <a:gd name="T19" fmla="*/ 81 h 165"/>
                <a:gd name="T20" fmla="*/ 13 w 156"/>
                <a:gd name="T21" fmla="*/ 99 h 165"/>
                <a:gd name="T22" fmla="*/ 22 w 156"/>
                <a:gd name="T23" fmla="*/ 116 h 165"/>
                <a:gd name="T24" fmla="*/ 34 w 156"/>
                <a:gd name="T25" fmla="*/ 131 h 165"/>
                <a:gd name="T26" fmla="*/ 47 w 156"/>
                <a:gd name="T27" fmla="*/ 145 h 165"/>
                <a:gd name="T28" fmla="*/ 63 w 156"/>
                <a:gd name="T29" fmla="*/ 155 h 165"/>
                <a:gd name="T30" fmla="*/ 78 w 156"/>
                <a:gd name="T31" fmla="*/ 165 h 165"/>
                <a:gd name="T32" fmla="*/ 78 w 156"/>
                <a:gd name="T33" fmla="*/ 165 h 165"/>
                <a:gd name="T34" fmla="*/ 95 w 156"/>
                <a:gd name="T35" fmla="*/ 155 h 165"/>
                <a:gd name="T36" fmla="*/ 111 w 156"/>
                <a:gd name="T37" fmla="*/ 145 h 165"/>
                <a:gd name="T38" fmla="*/ 124 w 156"/>
                <a:gd name="T39" fmla="*/ 131 h 165"/>
                <a:gd name="T40" fmla="*/ 135 w 156"/>
                <a:gd name="T41" fmla="*/ 116 h 165"/>
                <a:gd name="T42" fmla="*/ 144 w 156"/>
                <a:gd name="T43" fmla="*/ 99 h 165"/>
                <a:gd name="T44" fmla="*/ 152 w 156"/>
                <a:gd name="T45" fmla="*/ 81 h 165"/>
                <a:gd name="T46" fmla="*/ 155 w 156"/>
                <a:gd name="T47" fmla="*/ 62 h 165"/>
                <a:gd name="T48" fmla="*/ 156 w 156"/>
                <a:gd name="T49" fmla="*/ 51 h 165"/>
                <a:gd name="T50" fmla="*/ 156 w 156"/>
                <a:gd name="T51" fmla="*/ 41 h 165"/>
                <a:gd name="T52" fmla="*/ 156 w 156"/>
                <a:gd name="T53" fmla="*/ 41 h 165"/>
                <a:gd name="T54" fmla="*/ 156 w 156"/>
                <a:gd name="T55" fmla="*/ 30 h 165"/>
                <a:gd name="T56" fmla="*/ 155 w 156"/>
                <a:gd name="T57" fmla="*/ 21 h 165"/>
                <a:gd name="T58" fmla="*/ 153 w 156"/>
                <a:gd name="T59" fmla="*/ 10 h 165"/>
                <a:gd name="T60" fmla="*/ 150 w 156"/>
                <a:gd name="T61" fmla="*/ 0 h 165"/>
                <a:gd name="T62" fmla="*/ 6 w 156"/>
                <a:gd name="T6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5">
                  <a:moveTo>
                    <a:pt x="6" y="0"/>
                  </a:moveTo>
                  <a:lnTo>
                    <a:pt x="6" y="0"/>
                  </a:lnTo>
                  <a:lnTo>
                    <a:pt x="4" y="10"/>
                  </a:lnTo>
                  <a:lnTo>
                    <a:pt x="2" y="21"/>
                  </a:lnTo>
                  <a:lnTo>
                    <a:pt x="1" y="30"/>
                  </a:lnTo>
                  <a:lnTo>
                    <a:pt x="0" y="41"/>
                  </a:lnTo>
                  <a:lnTo>
                    <a:pt x="0" y="41"/>
                  </a:lnTo>
                  <a:lnTo>
                    <a:pt x="1" y="51"/>
                  </a:lnTo>
                  <a:lnTo>
                    <a:pt x="2" y="62"/>
                  </a:lnTo>
                  <a:lnTo>
                    <a:pt x="6" y="81"/>
                  </a:lnTo>
                  <a:lnTo>
                    <a:pt x="13" y="99"/>
                  </a:lnTo>
                  <a:lnTo>
                    <a:pt x="22" y="116"/>
                  </a:lnTo>
                  <a:lnTo>
                    <a:pt x="34" y="131"/>
                  </a:lnTo>
                  <a:lnTo>
                    <a:pt x="47" y="145"/>
                  </a:lnTo>
                  <a:lnTo>
                    <a:pt x="63" y="155"/>
                  </a:lnTo>
                  <a:lnTo>
                    <a:pt x="78" y="165"/>
                  </a:lnTo>
                  <a:lnTo>
                    <a:pt x="78" y="165"/>
                  </a:lnTo>
                  <a:lnTo>
                    <a:pt x="95" y="155"/>
                  </a:lnTo>
                  <a:lnTo>
                    <a:pt x="111" y="145"/>
                  </a:lnTo>
                  <a:lnTo>
                    <a:pt x="124" y="131"/>
                  </a:lnTo>
                  <a:lnTo>
                    <a:pt x="135" y="116"/>
                  </a:lnTo>
                  <a:lnTo>
                    <a:pt x="144" y="99"/>
                  </a:lnTo>
                  <a:lnTo>
                    <a:pt x="152" y="81"/>
                  </a:lnTo>
                  <a:lnTo>
                    <a:pt x="155" y="62"/>
                  </a:lnTo>
                  <a:lnTo>
                    <a:pt x="156" y="51"/>
                  </a:lnTo>
                  <a:lnTo>
                    <a:pt x="156" y="41"/>
                  </a:lnTo>
                  <a:lnTo>
                    <a:pt x="156" y="41"/>
                  </a:lnTo>
                  <a:lnTo>
                    <a:pt x="156" y="30"/>
                  </a:lnTo>
                  <a:lnTo>
                    <a:pt x="155" y="21"/>
                  </a:lnTo>
                  <a:lnTo>
                    <a:pt x="153" y="10"/>
                  </a:lnTo>
                  <a:lnTo>
                    <a:pt x="150" y="0"/>
                  </a:lnTo>
                  <a:lnTo>
                    <a:pt x="6" y="0"/>
                  </a:lnTo>
                  <a:close/>
                </a:path>
              </a:pathLst>
            </a:custGeom>
            <a:solidFill>
              <a:srgbClr val="E5E8E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80" name="Freeform 717"/>
            <p:cNvSpPr/>
            <p:nvPr/>
          </p:nvSpPr>
          <p:spPr bwMode="auto">
            <a:xfrm>
              <a:off x="5708651" y="1785938"/>
              <a:ext cx="79375" cy="228600"/>
            </a:xfrm>
            <a:custGeom>
              <a:avLst/>
              <a:gdLst>
                <a:gd name="T0" fmla="*/ 6 w 50"/>
                <a:gd name="T1" fmla="*/ 0 h 144"/>
                <a:gd name="T2" fmla="*/ 29 w 50"/>
                <a:gd name="T3" fmla="*/ 0 h 144"/>
                <a:gd name="T4" fmla="*/ 29 w 50"/>
                <a:gd name="T5" fmla="*/ 0 h 144"/>
                <a:gd name="T6" fmla="*/ 25 w 50"/>
                <a:gd name="T7" fmla="*/ 12 h 144"/>
                <a:gd name="T8" fmla="*/ 23 w 50"/>
                <a:gd name="T9" fmla="*/ 25 h 144"/>
                <a:gd name="T10" fmla="*/ 22 w 50"/>
                <a:gd name="T11" fmla="*/ 37 h 144"/>
                <a:gd name="T12" fmla="*/ 22 w 50"/>
                <a:gd name="T13" fmla="*/ 50 h 144"/>
                <a:gd name="T14" fmla="*/ 22 w 50"/>
                <a:gd name="T15" fmla="*/ 50 h 144"/>
                <a:gd name="T16" fmla="*/ 22 w 50"/>
                <a:gd name="T17" fmla="*/ 63 h 144"/>
                <a:gd name="T18" fmla="*/ 23 w 50"/>
                <a:gd name="T19" fmla="*/ 75 h 144"/>
                <a:gd name="T20" fmla="*/ 25 w 50"/>
                <a:gd name="T21" fmla="*/ 87 h 144"/>
                <a:gd name="T22" fmla="*/ 29 w 50"/>
                <a:gd name="T23" fmla="*/ 101 h 144"/>
                <a:gd name="T24" fmla="*/ 34 w 50"/>
                <a:gd name="T25" fmla="*/ 111 h 144"/>
                <a:gd name="T26" fmla="*/ 38 w 50"/>
                <a:gd name="T27" fmla="*/ 124 h 144"/>
                <a:gd name="T28" fmla="*/ 44 w 50"/>
                <a:gd name="T29" fmla="*/ 134 h 144"/>
                <a:gd name="T30" fmla="*/ 50 w 50"/>
                <a:gd name="T31" fmla="*/ 144 h 144"/>
                <a:gd name="T32" fmla="*/ 50 w 50"/>
                <a:gd name="T33" fmla="*/ 144 h 144"/>
                <a:gd name="T34" fmla="*/ 40 w 50"/>
                <a:gd name="T35" fmla="*/ 134 h 144"/>
                <a:gd name="T36" fmla="*/ 30 w 50"/>
                <a:gd name="T37" fmla="*/ 124 h 144"/>
                <a:gd name="T38" fmla="*/ 22 w 50"/>
                <a:gd name="T39" fmla="*/ 111 h 144"/>
                <a:gd name="T40" fmla="*/ 14 w 50"/>
                <a:gd name="T41" fmla="*/ 98 h 144"/>
                <a:gd name="T42" fmla="*/ 8 w 50"/>
                <a:gd name="T43" fmla="*/ 85 h 144"/>
                <a:gd name="T44" fmla="*/ 3 w 50"/>
                <a:gd name="T45" fmla="*/ 71 h 144"/>
                <a:gd name="T46" fmla="*/ 1 w 50"/>
                <a:gd name="T47" fmla="*/ 55 h 144"/>
                <a:gd name="T48" fmla="*/ 0 w 50"/>
                <a:gd name="T49" fmla="*/ 40 h 144"/>
                <a:gd name="T50" fmla="*/ 0 w 50"/>
                <a:gd name="T51" fmla="*/ 40 h 144"/>
                <a:gd name="T52" fmla="*/ 1 w 50"/>
                <a:gd name="T53" fmla="*/ 30 h 144"/>
                <a:gd name="T54" fmla="*/ 2 w 50"/>
                <a:gd name="T55" fmla="*/ 20 h 144"/>
                <a:gd name="T56" fmla="*/ 3 w 50"/>
                <a:gd name="T57" fmla="*/ 9 h 144"/>
                <a:gd name="T58" fmla="*/ 6 w 50"/>
                <a:gd name="T59" fmla="*/ 0 h 144"/>
                <a:gd name="T60" fmla="*/ 6 w 50"/>
                <a:gd name="T6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0" h="144">
                  <a:moveTo>
                    <a:pt x="6" y="0"/>
                  </a:moveTo>
                  <a:lnTo>
                    <a:pt x="29" y="0"/>
                  </a:lnTo>
                  <a:lnTo>
                    <a:pt x="29" y="0"/>
                  </a:lnTo>
                  <a:lnTo>
                    <a:pt x="25" y="12"/>
                  </a:lnTo>
                  <a:lnTo>
                    <a:pt x="23" y="25"/>
                  </a:lnTo>
                  <a:lnTo>
                    <a:pt x="22" y="37"/>
                  </a:lnTo>
                  <a:lnTo>
                    <a:pt x="22" y="50"/>
                  </a:lnTo>
                  <a:lnTo>
                    <a:pt x="22" y="50"/>
                  </a:lnTo>
                  <a:lnTo>
                    <a:pt x="22" y="63"/>
                  </a:lnTo>
                  <a:lnTo>
                    <a:pt x="23" y="75"/>
                  </a:lnTo>
                  <a:lnTo>
                    <a:pt x="25" y="87"/>
                  </a:lnTo>
                  <a:lnTo>
                    <a:pt x="29" y="101"/>
                  </a:lnTo>
                  <a:lnTo>
                    <a:pt x="34" y="111"/>
                  </a:lnTo>
                  <a:lnTo>
                    <a:pt x="38" y="124"/>
                  </a:lnTo>
                  <a:lnTo>
                    <a:pt x="44" y="134"/>
                  </a:lnTo>
                  <a:lnTo>
                    <a:pt x="50" y="144"/>
                  </a:lnTo>
                  <a:lnTo>
                    <a:pt x="50" y="144"/>
                  </a:lnTo>
                  <a:lnTo>
                    <a:pt x="40" y="134"/>
                  </a:lnTo>
                  <a:lnTo>
                    <a:pt x="30" y="124"/>
                  </a:lnTo>
                  <a:lnTo>
                    <a:pt x="22" y="111"/>
                  </a:lnTo>
                  <a:lnTo>
                    <a:pt x="14" y="98"/>
                  </a:lnTo>
                  <a:lnTo>
                    <a:pt x="8" y="85"/>
                  </a:lnTo>
                  <a:lnTo>
                    <a:pt x="3" y="71"/>
                  </a:lnTo>
                  <a:lnTo>
                    <a:pt x="1" y="55"/>
                  </a:lnTo>
                  <a:lnTo>
                    <a:pt x="0" y="40"/>
                  </a:lnTo>
                  <a:lnTo>
                    <a:pt x="0" y="40"/>
                  </a:lnTo>
                  <a:lnTo>
                    <a:pt x="1" y="30"/>
                  </a:lnTo>
                  <a:lnTo>
                    <a:pt x="2" y="20"/>
                  </a:lnTo>
                  <a:lnTo>
                    <a:pt x="3" y="9"/>
                  </a:lnTo>
                  <a:lnTo>
                    <a:pt x="6" y="0"/>
                  </a:lnTo>
                  <a:lnTo>
                    <a:pt x="6" y="0"/>
                  </a:lnTo>
                  <a:close/>
                </a:path>
              </a:pathLst>
            </a:custGeom>
            <a:solidFill>
              <a:srgbClr val="F7F8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81" name="Rectangle 718"/>
            <p:cNvSpPr>
              <a:spLocks noChangeArrowheads="1"/>
            </p:cNvSpPr>
            <p:nvPr/>
          </p:nvSpPr>
          <p:spPr bwMode="auto">
            <a:xfrm>
              <a:off x="5788026" y="1997076"/>
              <a:ext cx="36513" cy="171450"/>
            </a:xfrm>
            <a:prstGeom prst="rect">
              <a:avLst/>
            </a:prstGeom>
            <a:solidFill>
              <a:srgbClr val="E5E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82" name="Rectangle 719"/>
            <p:cNvSpPr>
              <a:spLocks noChangeArrowheads="1"/>
            </p:cNvSpPr>
            <p:nvPr/>
          </p:nvSpPr>
          <p:spPr bwMode="auto">
            <a:xfrm>
              <a:off x="5795963" y="2043113"/>
              <a:ext cx="9525" cy="100013"/>
            </a:xfrm>
            <a:prstGeom prst="rect">
              <a:avLst/>
            </a:prstGeom>
            <a:solidFill>
              <a:srgbClr val="F7F8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83" name="Freeform 720"/>
            <p:cNvSpPr/>
            <p:nvPr/>
          </p:nvSpPr>
          <p:spPr bwMode="auto">
            <a:xfrm>
              <a:off x="5710238" y="2155826"/>
              <a:ext cx="193675" cy="26988"/>
            </a:xfrm>
            <a:custGeom>
              <a:avLst/>
              <a:gdLst>
                <a:gd name="T0" fmla="*/ 122 w 122"/>
                <a:gd name="T1" fmla="*/ 17 h 17"/>
                <a:gd name="T2" fmla="*/ 122 w 122"/>
                <a:gd name="T3" fmla="*/ 10 h 17"/>
                <a:gd name="T4" fmla="*/ 122 w 122"/>
                <a:gd name="T5" fmla="*/ 10 h 17"/>
                <a:gd name="T6" fmla="*/ 120 w 122"/>
                <a:gd name="T7" fmla="*/ 6 h 17"/>
                <a:gd name="T8" fmla="*/ 119 w 122"/>
                <a:gd name="T9" fmla="*/ 2 h 17"/>
                <a:gd name="T10" fmla="*/ 117 w 122"/>
                <a:gd name="T11" fmla="*/ 1 h 17"/>
                <a:gd name="T12" fmla="*/ 114 w 122"/>
                <a:gd name="T13" fmla="*/ 0 h 17"/>
                <a:gd name="T14" fmla="*/ 7 w 122"/>
                <a:gd name="T15" fmla="*/ 0 h 17"/>
                <a:gd name="T16" fmla="*/ 7 w 122"/>
                <a:gd name="T17" fmla="*/ 0 h 17"/>
                <a:gd name="T18" fmla="*/ 5 w 122"/>
                <a:gd name="T19" fmla="*/ 1 h 17"/>
                <a:gd name="T20" fmla="*/ 2 w 122"/>
                <a:gd name="T21" fmla="*/ 2 h 17"/>
                <a:gd name="T22" fmla="*/ 0 w 122"/>
                <a:gd name="T23" fmla="*/ 6 h 17"/>
                <a:gd name="T24" fmla="*/ 0 w 122"/>
                <a:gd name="T25" fmla="*/ 10 h 17"/>
                <a:gd name="T26" fmla="*/ 0 w 122"/>
                <a:gd name="T27" fmla="*/ 17 h 17"/>
                <a:gd name="T28" fmla="*/ 122 w 122"/>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 h="17">
                  <a:moveTo>
                    <a:pt x="122" y="17"/>
                  </a:moveTo>
                  <a:lnTo>
                    <a:pt x="122" y="10"/>
                  </a:lnTo>
                  <a:lnTo>
                    <a:pt x="122" y="10"/>
                  </a:lnTo>
                  <a:lnTo>
                    <a:pt x="120" y="6"/>
                  </a:lnTo>
                  <a:lnTo>
                    <a:pt x="119" y="2"/>
                  </a:lnTo>
                  <a:lnTo>
                    <a:pt x="117" y="1"/>
                  </a:lnTo>
                  <a:lnTo>
                    <a:pt x="114" y="0"/>
                  </a:lnTo>
                  <a:lnTo>
                    <a:pt x="7" y="0"/>
                  </a:lnTo>
                  <a:lnTo>
                    <a:pt x="7" y="0"/>
                  </a:lnTo>
                  <a:lnTo>
                    <a:pt x="5" y="1"/>
                  </a:lnTo>
                  <a:lnTo>
                    <a:pt x="2" y="2"/>
                  </a:lnTo>
                  <a:lnTo>
                    <a:pt x="0" y="6"/>
                  </a:lnTo>
                  <a:lnTo>
                    <a:pt x="0" y="10"/>
                  </a:lnTo>
                  <a:lnTo>
                    <a:pt x="0" y="17"/>
                  </a:lnTo>
                  <a:lnTo>
                    <a:pt x="122" y="17"/>
                  </a:lnTo>
                  <a:close/>
                </a:path>
              </a:pathLst>
            </a:custGeom>
            <a:solidFill>
              <a:srgbClr val="E5E8E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84" name="Freeform 721"/>
            <p:cNvSpPr/>
            <p:nvPr/>
          </p:nvSpPr>
          <p:spPr bwMode="auto">
            <a:xfrm>
              <a:off x="5718176" y="2159001"/>
              <a:ext cx="47625" cy="26988"/>
            </a:xfrm>
            <a:custGeom>
              <a:avLst/>
              <a:gdLst>
                <a:gd name="T0" fmla="*/ 25 w 30"/>
                <a:gd name="T1" fmla="*/ 17 h 17"/>
                <a:gd name="T2" fmla="*/ 25 w 30"/>
                <a:gd name="T3" fmla="*/ 9 h 17"/>
                <a:gd name="T4" fmla="*/ 25 w 30"/>
                <a:gd name="T5" fmla="*/ 9 h 17"/>
                <a:gd name="T6" fmla="*/ 25 w 30"/>
                <a:gd name="T7" fmla="*/ 6 h 17"/>
                <a:gd name="T8" fmla="*/ 26 w 30"/>
                <a:gd name="T9" fmla="*/ 4 h 17"/>
                <a:gd name="T10" fmla="*/ 28 w 30"/>
                <a:gd name="T11" fmla="*/ 2 h 17"/>
                <a:gd name="T12" fmla="*/ 30 w 30"/>
                <a:gd name="T13" fmla="*/ 0 h 17"/>
                <a:gd name="T14" fmla="*/ 7 w 30"/>
                <a:gd name="T15" fmla="*/ 0 h 17"/>
                <a:gd name="T16" fmla="*/ 7 w 30"/>
                <a:gd name="T17" fmla="*/ 0 h 17"/>
                <a:gd name="T18" fmla="*/ 3 w 30"/>
                <a:gd name="T19" fmla="*/ 2 h 17"/>
                <a:gd name="T20" fmla="*/ 1 w 30"/>
                <a:gd name="T21" fmla="*/ 3 h 17"/>
                <a:gd name="T22" fmla="*/ 0 w 30"/>
                <a:gd name="T23" fmla="*/ 6 h 17"/>
                <a:gd name="T24" fmla="*/ 0 w 30"/>
                <a:gd name="T25" fmla="*/ 10 h 17"/>
                <a:gd name="T26" fmla="*/ 0 w 30"/>
                <a:gd name="T27" fmla="*/ 17 h 17"/>
                <a:gd name="T28" fmla="*/ 25 w 30"/>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7">
                  <a:moveTo>
                    <a:pt x="25" y="17"/>
                  </a:moveTo>
                  <a:lnTo>
                    <a:pt x="25" y="9"/>
                  </a:lnTo>
                  <a:lnTo>
                    <a:pt x="25" y="9"/>
                  </a:lnTo>
                  <a:lnTo>
                    <a:pt x="25" y="6"/>
                  </a:lnTo>
                  <a:lnTo>
                    <a:pt x="26" y="4"/>
                  </a:lnTo>
                  <a:lnTo>
                    <a:pt x="28" y="2"/>
                  </a:lnTo>
                  <a:lnTo>
                    <a:pt x="30" y="0"/>
                  </a:lnTo>
                  <a:lnTo>
                    <a:pt x="7" y="0"/>
                  </a:lnTo>
                  <a:lnTo>
                    <a:pt x="7" y="0"/>
                  </a:lnTo>
                  <a:lnTo>
                    <a:pt x="3" y="2"/>
                  </a:lnTo>
                  <a:lnTo>
                    <a:pt x="1" y="3"/>
                  </a:lnTo>
                  <a:lnTo>
                    <a:pt x="0" y="6"/>
                  </a:lnTo>
                  <a:lnTo>
                    <a:pt x="0" y="10"/>
                  </a:lnTo>
                  <a:lnTo>
                    <a:pt x="0" y="17"/>
                  </a:lnTo>
                  <a:lnTo>
                    <a:pt x="25" y="17"/>
                  </a:lnTo>
                  <a:close/>
                </a:path>
              </a:pathLst>
            </a:custGeom>
            <a:solidFill>
              <a:srgbClr val="F7F8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85" name="Rectangle 722"/>
            <p:cNvSpPr>
              <a:spLocks noChangeArrowheads="1"/>
            </p:cNvSpPr>
            <p:nvPr/>
          </p:nvSpPr>
          <p:spPr bwMode="auto">
            <a:xfrm>
              <a:off x="5684838" y="2181226"/>
              <a:ext cx="242888" cy="95250"/>
            </a:xfrm>
            <a:prstGeom prst="rect">
              <a:avLst/>
            </a:prstGeom>
            <a:solidFill>
              <a:srgbClr val="484F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86" name="Rectangle 723"/>
            <p:cNvSpPr>
              <a:spLocks noChangeArrowheads="1"/>
            </p:cNvSpPr>
            <p:nvPr/>
          </p:nvSpPr>
          <p:spPr bwMode="auto">
            <a:xfrm>
              <a:off x="5713413" y="2209801"/>
              <a:ext cx="185738" cy="38100"/>
            </a:xfrm>
            <a:prstGeom prst="rect">
              <a:avLst/>
            </a:prstGeom>
            <a:solidFill>
              <a:srgbClr val="303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87" name="Rectangle 724"/>
            <p:cNvSpPr>
              <a:spLocks noChangeArrowheads="1"/>
            </p:cNvSpPr>
            <p:nvPr/>
          </p:nvSpPr>
          <p:spPr bwMode="auto">
            <a:xfrm>
              <a:off x="5675313" y="2270126"/>
              <a:ext cx="261938" cy="30163"/>
            </a:xfrm>
            <a:prstGeom prst="rect">
              <a:avLst/>
            </a:prstGeom>
            <a:solidFill>
              <a:srgbClr val="303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88" name="Freeform 725"/>
            <p:cNvSpPr/>
            <p:nvPr/>
          </p:nvSpPr>
          <p:spPr bwMode="auto">
            <a:xfrm>
              <a:off x="5534026" y="2165351"/>
              <a:ext cx="231775" cy="214313"/>
            </a:xfrm>
            <a:custGeom>
              <a:avLst/>
              <a:gdLst>
                <a:gd name="T0" fmla="*/ 146 w 146"/>
                <a:gd name="T1" fmla="*/ 135 h 135"/>
                <a:gd name="T2" fmla="*/ 42 w 146"/>
                <a:gd name="T3" fmla="*/ 0 h 135"/>
                <a:gd name="T4" fmla="*/ 0 w 146"/>
                <a:gd name="T5" fmla="*/ 0 h 135"/>
                <a:gd name="T6" fmla="*/ 104 w 146"/>
                <a:gd name="T7" fmla="*/ 135 h 135"/>
                <a:gd name="T8" fmla="*/ 146 w 146"/>
                <a:gd name="T9" fmla="*/ 135 h 135"/>
              </a:gdLst>
              <a:ahLst/>
              <a:cxnLst>
                <a:cxn ang="0">
                  <a:pos x="T0" y="T1"/>
                </a:cxn>
                <a:cxn ang="0">
                  <a:pos x="T2" y="T3"/>
                </a:cxn>
                <a:cxn ang="0">
                  <a:pos x="T4" y="T5"/>
                </a:cxn>
                <a:cxn ang="0">
                  <a:pos x="T6" y="T7"/>
                </a:cxn>
                <a:cxn ang="0">
                  <a:pos x="T8" y="T9"/>
                </a:cxn>
              </a:cxnLst>
              <a:rect l="0" t="0" r="r" b="b"/>
              <a:pathLst>
                <a:path w="146" h="135">
                  <a:moveTo>
                    <a:pt x="146" y="135"/>
                  </a:moveTo>
                  <a:lnTo>
                    <a:pt x="42" y="0"/>
                  </a:lnTo>
                  <a:lnTo>
                    <a:pt x="0" y="0"/>
                  </a:lnTo>
                  <a:lnTo>
                    <a:pt x="104" y="135"/>
                  </a:lnTo>
                  <a:lnTo>
                    <a:pt x="146" y="135"/>
                  </a:lnTo>
                  <a:close/>
                </a:path>
              </a:pathLst>
            </a:custGeom>
            <a:solidFill>
              <a:srgbClr val="F4DA8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89" name="Freeform 726"/>
            <p:cNvSpPr/>
            <p:nvPr/>
          </p:nvSpPr>
          <p:spPr bwMode="auto">
            <a:xfrm>
              <a:off x="6149976" y="1870076"/>
              <a:ext cx="127000" cy="95250"/>
            </a:xfrm>
            <a:custGeom>
              <a:avLst/>
              <a:gdLst>
                <a:gd name="T0" fmla="*/ 80 w 80"/>
                <a:gd name="T1" fmla="*/ 0 h 60"/>
                <a:gd name="T2" fmla="*/ 80 w 80"/>
                <a:gd name="T3" fmla="*/ 60 h 60"/>
                <a:gd name="T4" fmla="*/ 40 w 80"/>
                <a:gd name="T5" fmla="*/ 60 h 60"/>
                <a:gd name="T6" fmla="*/ 0 w 80"/>
                <a:gd name="T7" fmla="*/ 60 h 60"/>
                <a:gd name="T8" fmla="*/ 80 w 80"/>
                <a:gd name="T9" fmla="*/ 0 h 60"/>
              </a:gdLst>
              <a:ahLst/>
              <a:cxnLst>
                <a:cxn ang="0">
                  <a:pos x="T0" y="T1"/>
                </a:cxn>
                <a:cxn ang="0">
                  <a:pos x="T2" y="T3"/>
                </a:cxn>
                <a:cxn ang="0">
                  <a:pos x="T4" y="T5"/>
                </a:cxn>
                <a:cxn ang="0">
                  <a:pos x="T6" y="T7"/>
                </a:cxn>
                <a:cxn ang="0">
                  <a:pos x="T8" y="T9"/>
                </a:cxn>
              </a:cxnLst>
              <a:rect l="0" t="0" r="r" b="b"/>
              <a:pathLst>
                <a:path w="80" h="60">
                  <a:moveTo>
                    <a:pt x="80" y="0"/>
                  </a:moveTo>
                  <a:lnTo>
                    <a:pt x="80" y="60"/>
                  </a:lnTo>
                  <a:lnTo>
                    <a:pt x="40" y="60"/>
                  </a:lnTo>
                  <a:lnTo>
                    <a:pt x="0" y="60"/>
                  </a:lnTo>
                  <a:lnTo>
                    <a:pt x="80" y="0"/>
                  </a:lnTo>
                  <a:close/>
                </a:path>
              </a:pathLst>
            </a:custGeom>
            <a:solidFill>
              <a:srgbClr val="F3B8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90" name="Freeform 727"/>
            <p:cNvSpPr/>
            <p:nvPr/>
          </p:nvSpPr>
          <p:spPr bwMode="auto">
            <a:xfrm>
              <a:off x="5699126" y="2078038"/>
              <a:ext cx="261938" cy="303213"/>
            </a:xfrm>
            <a:custGeom>
              <a:avLst/>
              <a:gdLst>
                <a:gd name="T0" fmla="*/ 42 w 165"/>
                <a:gd name="T1" fmla="*/ 191 h 191"/>
                <a:gd name="T2" fmla="*/ 165 w 165"/>
                <a:gd name="T3" fmla="*/ 0 h 191"/>
                <a:gd name="T4" fmla="*/ 123 w 165"/>
                <a:gd name="T5" fmla="*/ 0 h 191"/>
                <a:gd name="T6" fmla="*/ 0 w 165"/>
                <a:gd name="T7" fmla="*/ 191 h 191"/>
                <a:gd name="T8" fmla="*/ 42 w 165"/>
                <a:gd name="T9" fmla="*/ 191 h 191"/>
              </a:gdLst>
              <a:ahLst/>
              <a:cxnLst>
                <a:cxn ang="0">
                  <a:pos x="T0" y="T1"/>
                </a:cxn>
                <a:cxn ang="0">
                  <a:pos x="T2" y="T3"/>
                </a:cxn>
                <a:cxn ang="0">
                  <a:pos x="T4" y="T5"/>
                </a:cxn>
                <a:cxn ang="0">
                  <a:pos x="T6" y="T7"/>
                </a:cxn>
                <a:cxn ang="0">
                  <a:pos x="T8" y="T9"/>
                </a:cxn>
              </a:cxnLst>
              <a:rect l="0" t="0" r="r" b="b"/>
              <a:pathLst>
                <a:path w="165" h="191">
                  <a:moveTo>
                    <a:pt x="42" y="191"/>
                  </a:moveTo>
                  <a:lnTo>
                    <a:pt x="165" y="0"/>
                  </a:lnTo>
                  <a:lnTo>
                    <a:pt x="123" y="0"/>
                  </a:lnTo>
                  <a:lnTo>
                    <a:pt x="0" y="191"/>
                  </a:lnTo>
                  <a:lnTo>
                    <a:pt x="42" y="191"/>
                  </a:lnTo>
                  <a:close/>
                </a:path>
              </a:pathLst>
            </a:custGeom>
            <a:solidFill>
              <a:srgbClr val="F3B8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91" name="Freeform 728"/>
            <p:cNvSpPr/>
            <p:nvPr/>
          </p:nvSpPr>
          <p:spPr bwMode="auto">
            <a:xfrm>
              <a:off x="5891213" y="2078038"/>
              <a:ext cx="203200" cy="187325"/>
            </a:xfrm>
            <a:custGeom>
              <a:avLst/>
              <a:gdLst>
                <a:gd name="T0" fmla="*/ 128 w 128"/>
                <a:gd name="T1" fmla="*/ 118 h 118"/>
                <a:gd name="T2" fmla="*/ 43 w 128"/>
                <a:gd name="T3" fmla="*/ 0 h 118"/>
                <a:gd name="T4" fmla="*/ 0 w 128"/>
                <a:gd name="T5" fmla="*/ 0 h 118"/>
                <a:gd name="T6" fmla="*/ 86 w 128"/>
                <a:gd name="T7" fmla="*/ 118 h 118"/>
                <a:gd name="T8" fmla="*/ 128 w 128"/>
                <a:gd name="T9" fmla="*/ 118 h 118"/>
              </a:gdLst>
              <a:ahLst/>
              <a:cxnLst>
                <a:cxn ang="0">
                  <a:pos x="T0" y="T1"/>
                </a:cxn>
                <a:cxn ang="0">
                  <a:pos x="T2" y="T3"/>
                </a:cxn>
                <a:cxn ang="0">
                  <a:pos x="T4" y="T5"/>
                </a:cxn>
                <a:cxn ang="0">
                  <a:pos x="T6" y="T7"/>
                </a:cxn>
                <a:cxn ang="0">
                  <a:pos x="T8" y="T9"/>
                </a:cxn>
              </a:cxnLst>
              <a:rect l="0" t="0" r="r" b="b"/>
              <a:pathLst>
                <a:path w="128" h="118">
                  <a:moveTo>
                    <a:pt x="128" y="118"/>
                  </a:moveTo>
                  <a:lnTo>
                    <a:pt x="43" y="0"/>
                  </a:lnTo>
                  <a:lnTo>
                    <a:pt x="0" y="0"/>
                  </a:lnTo>
                  <a:lnTo>
                    <a:pt x="86" y="118"/>
                  </a:lnTo>
                  <a:lnTo>
                    <a:pt x="128" y="118"/>
                  </a:lnTo>
                  <a:close/>
                </a:path>
              </a:pathLst>
            </a:custGeom>
            <a:solidFill>
              <a:srgbClr val="F4DA8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92" name="Freeform 729"/>
            <p:cNvSpPr/>
            <p:nvPr/>
          </p:nvSpPr>
          <p:spPr bwMode="auto">
            <a:xfrm>
              <a:off x="6026151" y="1938338"/>
              <a:ext cx="246063" cy="327025"/>
            </a:xfrm>
            <a:custGeom>
              <a:avLst/>
              <a:gdLst>
                <a:gd name="T0" fmla="*/ 42 w 155"/>
                <a:gd name="T1" fmla="*/ 206 h 206"/>
                <a:gd name="T2" fmla="*/ 155 w 155"/>
                <a:gd name="T3" fmla="*/ 0 h 206"/>
                <a:gd name="T4" fmla="*/ 113 w 155"/>
                <a:gd name="T5" fmla="*/ 0 h 206"/>
                <a:gd name="T6" fmla="*/ 0 w 155"/>
                <a:gd name="T7" fmla="*/ 206 h 206"/>
                <a:gd name="T8" fmla="*/ 42 w 155"/>
                <a:gd name="T9" fmla="*/ 206 h 206"/>
              </a:gdLst>
              <a:ahLst/>
              <a:cxnLst>
                <a:cxn ang="0">
                  <a:pos x="T0" y="T1"/>
                </a:cxn>
                <a:cxn ang="0">
                  <a:pos x="T2" y="T3"/>
                </a:cxn>
                <a:cxn ang="0">
                  <a:pos x="T4" y="T5"/>
                </a:cxn>
                <a:cxn ang="0">
                  <a:pos x="T6" y="T7"/>
                </a:cxn>
                <a:cxn ang="0">
                  <a:pos x="T8" y="T9"/>
                </a:cxn>
              </a:cxnLst>
              <a:rect l="0" t="0" r="r" b="b"/>
              <a:pathLst>
                <a:path w="155" h="206">
                  <a:moveTo>
                    <a:pt x="42" y="206"/>
                  </a:moveTo>
                  <a:lnTo>
                    <a:pt x="155" y="0"/>
                  </a:lnTo>
                  <a:lnTo>
                    <a:pt x="113" y="0"/>
                  </a:lnTo>
                  <a:lnTo>
                    <a:pt x="0" y="206"/>
                  </a:lnTo>
                  <a:lnTo>
                    <a:pt x="42" y="206"/>
                  </a:lnTo>
                  <a:close/>
                </a:path>
              </a:pathLst>
            </a:custGeom>
            <a:solidFill>
              <a:srgbClr val="F3B8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grpSp>
      <p:pic>
        <p:nvPicPr>
          <p:cNvPr id="69" name="图片 68"/>
          <p:cNvPicPr>
            <a:picLocks noChangeAspect="1"/>
          </p:cNvPicPr>
          <p:nvPr/>
        </p:nvPicPr>
        <p:blipFill>
          <a:blip r:embed="rId6"/>
          <a:stretch>
            <a:fillRect/>
          </a:stretch>
        </p:blipFill>
        <p:spPr>
          <a:xfrm rot="5400000">
            <a:off x="681426" y="4919297"/>
            <a:ext cx="1561973" cy="1576944"/>
          </a:xfrm>
          <a:prstGeom prst="rect">
            <a:avLst/>
          </a:prstGeom>
        </p:spPr>
      </p:pic>
      <p:pic>
        <p:nvPicPr>
          <p:cNvPr id="70" name="图片 69"/>
          <p:cNvPicPr>
            <a:picLocks noChangeAspect="1"/>
          </p:cNvPicPr>
          <p:nvPr/>
        </p:nvPicPr>
        <p:blipFill>
          <a:blip r:embed="rId7"/>
          <a:stretch>
            <a:fillRect/>
          </a:stretch>
        </p:blipFill>
        <p:spPr>
          <a:xfrm>
            <a:off x="4454460" y="2967549"/>
            <a:ext cx="1277456" cy="1809730"/>
          </a:xfrm>
          <a:prstGeom prst="rect">
            <a:avLst/>
          </a:prstGeom>
        </p:spPr>
      </p:pic>
      <p:pic>
        <p:nvPicPr>
          <p:cNvPr id="71" name="图片 70"/>
          <p:cNvPicPr>
            <a:picLocks noChangeAspect="1"/>
          </p:cNvPicPr>
          <p:nvPr/>
        </p:nvPicPr>
        <p:blipFill>
          <a:blip r:embed="rId8"/>
          <a:stretch>
            <a:fillRect/>
          </a:stretch>
        </p:blipFill>
        <p:spPr>
          <a:xfrm>
            <a:off x="2241878" y="5242141"/>
            <a:ext cx="813338" cy="1193252"/>
          </a:xfrm>
          <a:prstGeom prst="rect">
            <a:avLst/>
          </a:prstGeom>
        </p:spPr>
      </p:pic>
      <p:pic>
        <p:nvPicPr>
          <p:cNvPr id="72" name="图片 71"/>
          <p:cNvPicPr>
            <a:picLocks noChangeAspect="1"/>
          </p:cNvPicPr>
          <p:nvPr/>
        </p:nvPicPr>
        <p:blipFill>
          <a:blip r:embed="rId9"/>
          <a:stretch>
            <a:fillRect/>
          </a:stretch>
        </p:blipFill>
        <p:spPr>
          <a:xfrm>
            <a:off x="2854337" y="5217321"/>
            <a:ext cx="815177" cy="1136469"/>
          </a:xfrm>
          <a:prstGeom prst="rect">
            <a:avLst/>
          </a:prstGeom>
        </p:spPr>
      </p:pic>
      <p:pic>
        <p:nvPicPr>
          <p:cNvPr id="73" name="图片 72"/>
          <p:cNvPicPr>
            <a:picLocks noChangeAspect="1"/>
          </p:cNvPicPr>
          <p:nvPr/>
        </p:nvPicPr>
        <p:blipFill>
          <a:blip r:embed="rId10"/>
          <a:stretch>
            <a:fillRect/>
          </a:stretch>
        </p:blipFill>
        <p:spPr>
          <a:xfrm>
            <a:off x="3456641" y="5132060"/>
            <a:ext cx="752843" cy="1184225"/>
          </a:xfrm>
          <a:prstGeom prst="rect">
            <a:avLst/>
          </a:prstGeom>
        </p:spPr>
      </p:pic>
      <p:pic>
        <p:nvPicPr>
          <p:cNvPr id="74" name="图片 73"/>
          <p:cNvPicPr>
            <a:picLocks noChangeAspect="1"/>
          </p:cNvPicPr>
          <p:nvPr/>
        </p:nvPicPr>
        <p:blipFill>
          <a:blip r:embed="rId11"/>
          <a:stretch>
            <a:fillRect/>
          </a:stretch>
        </p:blipFill>
        <p:spPr>
          <a:xfrm>
            <a:off x="4007293" y="5132060"/>
            <a:ext cx="801179" cy="1121113"/>
          </a:xfrm>
          <a:prstGeom prst="rect">
            <a:avLst/>
          </a:prstGeom>
        </p:spPr>
      </p:pic>
      <p:pic>
        <p:nvPicPr>
          <p:cNvPr id="75" name="图片 74"/>
          <p:cNvPicPr>
            <a:picLocks noChangeAspect="1"/>
          </p:cNvPicPr>
          <p:nvPr/>
        </p:nvPicPr>
        <p:blipFill>
          <a:blip r:embed="rId12"/>
          <a:stretch>
            <a:fillRect/>
          </a:stretch>
        </p:blipFill>
        <p:spPr>
          <a:xfrm>
            <a:off x="4590180" y="5070398"/>
            <a:ext cx="795858" cy="1139797"/>
          </a:xfrm>
          <a:prstGeom prst="rect">
            <a:avLst/>
          </a:prstGeom>
        </p:spPr>
      </p:pic>
      <p:pic>
        <p:nvPicPr>
          <p:cNvPr id="76" name="图片 75"/>
          <p:cNvPicPr>
            <a:picLocks noChangeAspect="1"/>
          </p:cNvPicPr>
          <p:nvPr/>
        </p:nvPicPr>
        <p:blipFill>
          <a:blip r:embed="rId13"/>
          <a:stretch>
            <a:fillRect/>
          </a:stretch>
        </p:blipFill>
        <p:spPr>
          <a:xfrm>
            <a:off x="5146251" y="5027420"/>
            <a:ext cx="817734" cy="1126125"/>
          </a:xfrm>
          <a:prstGeom prst="rect">
            <a:avLst/>
          </a:prstGeom>
        </p:spPr>
      </p:pic>
      <p:sp>
        <p:nvSpPr>
          <p:cNvPr id="77" name="内容占位符 2"/>
          <p:cNvSpPr txBox="1"/>
          <p:nvPr/>
        </p:nvSpPr>
        <p:spPr>
          <a:xfrm>
            <a:off x="666570" y="895553"/>
            <a:ext cx="10858859" cy="1378505"/>
          </a:xfrm>
          <a:prstGeom prst="rect">
            <a:avLst/>
          </a:prstGeom>
        </p:spPr>
        <p:txBody>
          <a:bodyPr rtlCol="0"/>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a:lnSpc>
                <a:spcPct val="120000"/>
              </a:lnSpc>
              <a:buFont typeface="Wingdings" panose="05000000000000000000" pitchFamily="2" charset="2"/>
              <a:buChar char="ü"/>
            </a:pPr>
            <a:r>
              <a:rPr lang="zh-CN" altLang="zh-CN" sz="1800" dirty="0">
                <a:latin typeface="微软雅黑" panose="020B0503020204020204" pitchFamily="34" charset="-122"/>
                <a:ea typeface="微软雅黑" panose="020B0503020204020204" pitchFamily="34" charset="-122"/>
              </a:rPr>
              <a:t>国内独家创新性开发了</a:t>
            </a:r>
            <a:r>
              <a:rPr lang="zh-CN" altLang="zh-CN" sz="1800" b="1" dirty="0">
                <a:solidFill>
                  <a:srgbClr val="FF0000"/>
                </a:solidFill>
                <a:latin typeface="微软雅黑" panose="020B0503020204020204" pitchFamily="34" charset="-122"/>
                <a:ea typeface="微软雅黑" panose="020B0503020204020204" pitchFamily="34" charset="-122"/>
              </a:rPr>
              <a:t>具有自主知识产权的</a:t>
            </a:r>
            <a:r>
              <a:rPr lang="zh-CN" altLang="zh-CN" sz="1800" b="1" dirty="0">
                <a:solidFill>
                  <a:srgbClr val="FF0000"/>
                </a:solidFill>
                <a:latin typeface="微软雅黑" panose="020B0503020204020204" pitchFamily="34" charset="-122"/>
                <a:ea typeface="微软雅黑" panose="020B0503020204020204" pitchFamily="34" charset="-122"/>
              </a:rPr>
              <a:t>动物单采血浆技术</a:t>
            </a:r>
            <a:r>
              <a:rPr lang="zh-CN" altLang="zh-CN" sz="1800" dirty="0">
                <a:latin typeface="微软雅黑" panose="020B0503020204020204" pitchFamily="34" charset="-122"/>
                <a:ea typeface="微软雅黑" panose="020B0503020204020204" pitchFamily="34" charset="-122"/>
              </a:rPr>
              <a:t>，并成功实现了产业化，已申请的专利形成了专利池，可全方位对知识产权进行保护，</a:t>
            </a:r>
            <a:endParaRPr lang="en-US" altLang="zh-CN" sz="1800" dirty="0">
              <a:latin typeface="微软雅黑" panose="020B0503020204020204" pitchFamily="34" charset="-122"/>
              <a:ea typeface="微软雅黑" panose="020B0503020204020204" pitchFamily="34" charset="-122"/>
            </a:endParaRPr>
          </a:p>
          <a:p>
            <a:pPr>
              <a:lnSpc>
                <a:spcPct val="120000"/>
              </a:lnSpc>
              <a:buFont typeface="Wingdings" panose="05000000000000000000" pitchFamily="2" charset="2"/>
              <a:buChar char="ü"/>
            </a:pPr>
            <a:r>
              <a:rPr lang="zh-CN" altLang="zh-CN" sz="1800" dirty="0">
                <a:latin typeface="微软雅黑" panose="020B0503020204020204" pitchFamily="34" charset="-122"/>
                <a:ea typeface="微软雅黑" panose="020B0503020204020204" pitchFamily="34" charset="-122"/>
              </a:rPr>
              <a:t>目前是</a:t>
            </a:r>
            <a:r>
              <a:rPr lang="zh-CN" altLang="zh-CN" sz="1800" b="1" dirty="0">
                <a:solidFill>
                  <a:srgbClr val="FF0000"/>
                </a:solidFill>
                <a:latin typeface="微软雅黑" panose="020B0503020204020204" pitchFamily="34" charset="-122"/>
                <a:ea typeface="微软雅黑" panose="020B0503020204020204" pitchFamily="34" charset="-122"/>
              </a:rPr>
              <a:t>国内</a:t>
            </a:r>
            <a:r>
              <a:rPr lang="zh-CN" altLang="en-US" sz="1800" b="1" dirty="0">
                <a:solidFill>
                  <a:srgbClr val="FF0000"/>
                </a:solidFill>
                <a:latin typeface="微软雅黑" panose="020B0503020204020204" pitchFamily="34" charset="-122"/>
                <a:ea typeface="微软雅黑" panose="020B0503020204020204" pitchFamily="34" charset="-122"/>
              </a:rPr>
              <a:t>外</a:t>
            </a:r>
            <a:r>
              <a:rPr lang="zh-CN" altLang="zh-CN" sz="1800" b="1" dirty="0">
                <a:solidFill>
                  <a:srgbClr val="FF0000"/>
                </a:solidFill>
                <a:latin typeface="微软雅黑" panose="020B0503020204020204" pitchFamily="34" charset="-122"/>
                <a:ea typeface="微软雅黑" panose="020B0503020204020204" pitchFamily="34" charset="-122"/>
              </a:rPr>
              <a:t>唯一一家采用该创新技术的医药企业</a:t>
            </a:r>
            <a:r>
              <a:rPr lang="zh-CN" altLang="zh-CN" sz="1800" dirty="0">
                <a:latin typeface="微软雅黑" panose="020B0503020204020204" pitchFamily="34" charset="-122"/>
                <a:ea typeface="微软雅黑" panose="020B0503020204020204" pitchFamily="34" charset="-122"/>
              </a:rPr>
              <a:t>，创新性的解决了生化药物领域的关键问题，增加了产品的有效性、安全性和质量稳定性。</a:t>
            </a:r>
            <a:endParaRPr lang="zh-CN" altLang="zh-CN" sz="1800" dirty="0">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60216" y="2881205"/>
            <a:ext cx="1387973" cy="1963090"/>
          </a:xfrm>
          <a:prstGeom prst="rect">
            <a:avLst/>
          </a:prstGeom>
        </p:spPr>
      </p:pic>
      <p:sp>
        <p:nvSpPr>
          <p:cNvPr id="59"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创新性（二）</a:t>
            </a:r>
            <a:r>
              <a:rPr lang="zh-CN" altLang="en-US" dirty="0">
                <a:solidFill>
                  <a:srgbClr val="1A1918"/>
                </a:solidFill>
                <a:latin typeface="微软雅黑" panose="020B0503020204020204" pitchFamily="34" charset="-122"/>
                <a:ea typeface="微软雅黑" panose="020B0503020204020204" pitchFamily="34" charset="-122"/>
              </a:rPr>
              <a:t>（关键原料</a:t>
            </a:r>
            <a:r>
              <a:rPr lang="zh-CN" altLang="en-US" dirty="0">
                <a:solidFill>
                  <a:srgbClr val="1A1918"/>
                </a:solidFill>
                <a:latin typeface="微软雅黑" panose="020B0503020204020204" pitchFamily="34" charset="-122"/>
                <a:ea typeface="微软雅黑" panose="020B0503020204020204" pitchFamily="34" charset="-122"/>
              </a:rPr>
              <a:t>创新）</a:t>
            </a:r>
            <a:endParaRPr lang="zh-CN" altLang="en-US" dirty="0">
              <a:solidFill>
                <a:srgbClr val="1A1918"/>
              </a:solidFill>
              <a:latin typeface="微软雅黑" panose="020B0503020204020204" pitchFamily="34" charset="-122"/>
              <a:ea typeface="微软雅黑" panose="020B0503020204020204" pitchFamily="34" charset="-122"/>
            </a:endParaRPr>
          </a:p>
        </p:txBody>
      </p:sp>
      <p:sp>
        <p:nvSpPr>
          <p:cNvPr id="61" name="椭圆 60"/>
          <p:cNvSpPr/>
          <p:nvPr/>
        </p:nvSpPr>
        <p:spPr>
          <a:xfrm>
            <a:off x="616186" y="315174"/>
            <a:ext cx="360000" cy="360000"/>
          </a:xfrm>
          <a:prstGeom prst="ellipse">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4</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aphicFrame>
        <p:nvGraphicFramePr>
          <p:cNvPr id="60" name="图示 59"/>
          <p:cNvGraphicFramePr/>
          <p:nvPr/>
        </p:nvGraphicFramePr>
        <p:xfrm>
          <a:off x="6314803" y="2544925"/>
          <a:ext cx="5552739" cy="3465053"/>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62" name="内容占位符 2"/>
          <p:cNvSpPr txBox="1"/>
          <p:nvPr/>
        </p:nvSpPr>
        <p:spPr>
          <a:xfrm>
            <a:off x="6336698" y="5569824"/>
            <a:ext cx="5552740" cy="880307"/>
          </a:xfrm>
          <a:prstGeom prst="rect">
            <a:avLst/>
          </a:prstGeom>
        </p:spPr>
        <p:txBody>
          <a:bodyPr rtlCol="0"/>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nSpc>
                <a:spcPct val="150000"/>
              </a:lnSpc>
              <a:buFont typeface="Wingdings" panose="05000000000000000000" pitchFamily="2" charset="2"/>
              <a:buChar char="ü"/>
            </a:pPr>
            <a:r>
              <a:rPr lang="zh-CN" altLang="en-US" sz="1200" dirty="0">
                <a:latin typeface="微软雅黑" panose="020B0503020204020204" pitchFamily="34" charset="-122"/>
                <a:ea typeface="微软雅黑" panose="020B0503020204020204" pitchFamily="34" charset="-122"/>
              </a:rPr>
              <a:t> 解决了猪源纤维蛋白粘合剂存在的因对异体蛋白过敏发生发热、皮疹的风险；</a:t>
            </a:r>
            <a:endParaRPr lang="en-US" altLang="zh-CN" sz="1200" dirty="0">
              <a:latin typeface="微软雅黑" panose="020B0503020204020204" pitchFamily="34" charset="-122"/>
              <a:ea typeface="微软雅黑" panose="020B0503020204020204" pitchFamily="34" charset="-122"/>
            </a:endParaRPr>
          </a:p>
          <a:p>
            <a:pPr marL="0" indent="0">
              <a:lnSpc>
                <a:spcPct val="150000"/>
              </a:lnSpc>
              <a:buFont typeface="Wingdings" panose="05000000000000000000" pitchFamily="2" charset="2"/>
              <a:buChar char="ü"/>
            </a:pPr>
            <a:r>
              <a:rPr lang="zh-CN" altLang="en-US" sz="1200" dirty="0">
                <a:latin typeface="微软雅黑" panose="020B0503020204020204" pitchFamily="34" charset="-122"/>
                <a:ea typeface="微软雅黑" panose="020B0503020204020204" pitchFamily="34" charset="-122"/>
              </a:rPr>
              <a:t> 解决了猪源纤维蛋白粘合剂存在的配置时间长、溶解速度慢的问题；</a:t>
            </a:r>
            <a:endParaRPr lang="en-US" altLang="zh-CN" sz="1200" dirty="0">
              <a:latin typeface="微软雅黑" panose="020B0503020204020204" pitchFamily="34" charset="-122"/>
              <a:ea typeface="微软雅黑" panose="020B0503020204020204" pitchFamily="34" charset="-122"/>
            </a:endParaRPr>
          </a:p>
          <a:p>
            <a:pPr marL="0" indent="0">
              <a:lnSpc>
                <a:spcPct val="150000"/>
              </a:lnSpc>
              <a:buFont typeface="Wingdings" panose="05000000000000000000" pitchFamily="2" charset="2"/>
              <a:buChar char="ü"/>
            </a:pPr>
            <a:r>
              <a:rPr lang="zh-CN" altLang="en-US" sz="1200" dirty="0">
                <a:latin typeface="微软雅黑" panose="020B0503020204020204" pitchFamily="34" charset="-122"/>
                <a:ea typeface="微软雅黑" panose="020B0503020204020204" pitchFamily="34" charset="-122"/>
              </a:rPr>
              <a:t> 解决了猪源纤维蛋白粘合剂存在的成膜速度慢、止血速度慢的问题。</a:t>
            </a:r>
            <a:endParaRPr lang="en-US" altLang="zh-CN" sz="1200" dirty="0">
              <a:latin typeface="微软雅黑" panose="020B0503020204020204" pitchFamily="34" charset="-122"/>
              <a:ea typeface="微软雅黑" panose="020B0503020204020204" pitchFamily="34" charset="-122"/>
            </a:endParaRPr>
          </a:p>
        </p:txBody>
      </p:sp>
      <p:sp>
        <p:nvSpPr>
          <p:cNvPr id="63" name="灯片编号占位符 3"/>
          <p:cNvSpPr>
            <a:spLocks noGrp="1"/>
          </p:cNvSpPr>
          <p:nvPr>
            <p:ph type="sldNum" sz="quarter" idx="4"/>
          </p:nvPr>
        </p:nvSpPr>
        <p:spPr>
          <a:xfrm>
            <a:off x="311150" y="6523001"/>
            <a:ext cx="294928" cy="196131"/>
          </a:xfrm>
        </p:spPr>
        <p:txBody>
          <a:bodyPr/>
          <a:lstStyle/>
          <a:p>
            <a:pPr defTabSz="1218565"/>
            <a:r>
              <a:rPr lang="en-US" altLang="ja-JP" dirty="0"/>
              <a:t>8</a:t>
            </a:r>
            <a:endParaRPr lang="ja-JP" altLang="en-US" dirty="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1"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公平性（一）</a:t>
            </a:r>
            <a:endParaRPr lang="zh-CN" altLang="en-US" sz="3200" dirty="0">
              <a:solidFill>
                <a:srgbClr val="1A1918"/>
              </a:solidFill>
              <a:latin typeface="微软雅黑" panose="020B0503020204020204" pitchFamily="34" charset="-122"/>
              <a:ea typeface="微软雅黑" panose="020B0503020204020204" pitchFamily="34" charset="-122"/>
            </a:endParaRPr>
          </a:p>
        </p:txBody>
      </p:sp>
      <p:sp>
        <p:nvSpPr>
          <p:cNvPr id="22" name="椭圆 21"/>
          <p:cNvSpPr/>
          <p:nvPr/>
        </p:nvSpPr>
        <p:spPr>
          <a:xfrm>
            <a:off x="616186" y="315174"/>
            <a:ext cx="360000" cy="360000"/>
          </a:xfrm>
          <a:prstGeom prst="ellipse">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5</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5" name="Text Placeholder 5"/>
          <p:cNvSpPr txBox="1"/>
          <p:nvPr/>
        </p:nvSpPr>
        <p:spPr>
          <a:xfrm>
            <a:off x="1038222" y="817217"/>
            <a:ext cx="10853739" cy="685801"/>
          </a:xfrm>
          <a:prstGeom prst="rect">
            <a:avLst/>
          </a:prstGeom>
        </p:spPr>
        <p:txBody>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zh-CN" altLang="en-US" sz="1800" dirty="0">
                <a:solidFill>
                  <a:srgbClr val="1A1918"/>
                </a:solidFill>
                <a:latin typeface="微软雅黑" panose="020B0503020204020204" pitchFamily="34" charset="-122"/>
                <a:ea typeface="微软雅黑" panose="020B0503020204020204" pitchFamily="34" charset="-122"/>
              </a:rPr>
              <a:t>康瑞胶（猪纤维蛋白粘合剂）</a:t>
            </a:r>
            <a:endParaRPr lang="zh-CN" altLang="en-US" sz="1800" dirty="0">
              <a:solidFill>
                <a:srgbClr val="1A1918"/>
              </a:solidFill>
              <a:latin typeface="微软雅黑" panose="020B0503020204020204" pitchFamily="34" charset="-122"/>
              <a:ea typeface="微软雅黑" panose="020B0503020204020204" pitchFamily="34" charset="-122"/>
            </a:endParaRPr>
          </a:p>
        </p:txBody>
      </p:sp>
      <p:grpSp>
        <p:nvGrpSpPr>
          <p:cNvPr id="163" name="Group 2"/>
          <p:cNvGrpSpPr/>
          <p:nvPr/>
        </p:nvGrpSpPr>
        <p:grpSpPr>
          <a:xfrm>
            <a:off x="1135823" y="1800225"/>
            <a:ext cx="10186301" cy="4518382"/>
            <a:chOff x="866130" y="1696698"/>
            <a:chExt cx="7948468" cy="3554607"/>
          </a:xfrm>
        </p:grpSpPr>
        <p:sp>
          <p:nvSpPr>
            <p:cNvPr id="164" name="Freeform 66"/>
            <p:cNvSpPr/>
            <p:nvPr/>
          </p:nvSpPr>
          <p:spPr bwMode="auto">
            <a:xfrm>
              <a:off x="2624256" y="1717150"/>
              <a:ext cx="854905" cy="288377"/>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no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65" name="Freeform 74"/>
            <p:cNvSpPr/>
            <p:nvPr/>
          </p:nvSpPr>
          <p:spPr bwMode="auto">
            <a:xfrm flipH="1">
              <a:off x="6210733" y="1718792"/>
              <a:ext cx="854905" cy="288377"/>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no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66" name="Freeform 32"/>
            <p:cNvSpPr/>
            <p:nvPr/>
          </p:nvSpPr>
          <p:spPr bwMode="auto">
            <a:xfrm flipV="1">
              <a:off x="6228371" y="172342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baseline="-25000"/>
            </a:p>
          </p:txBody>
        </p:sp>
        <p:sp>
          <p:nvSpPr>
            <p:cNvPr id="167" name="Freeform 32"/>
            <p:cNvSpPr/>
            <p:nvPr/>
          </p:nvSpPr>
          <p:spPr bwMode="auto">
            <a:xfrm flipH="1" flipV="1">
              <a:off x="2585554" y="1732132"/>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w="9525">
              <a:noFill/>
              <a:round/>
            </a:ln>
          </p:spPr>
          <p:txBody>
            <a:bodyPr vert="horz" wrap="square" lIns="76828" tIns="38415" rIns="76828" bIns="38415" numCol="1" anchor="t" anchorCtr="0" compatLnSpc="1"/>
            <a:lstStyle/>
            <a:p>
              <a:endParaRPr lang="en-GB" sz="1680" baseline="-25000"/>
            </a:p>
          </p:txBody>
        </p:sp>
        <p:sp>
          <p:nvSpPr>
            <p:cNvPr id="168" name="Rectangle 7"/>
            <p:cNvSpPr>
              <a:spLocks noChangeArrowheads="1"/>
            </p:cNvSpPr>
            <p:nvPr/>
          </p:nvSpPr>
          <p:spPr bwMode="auto">
            <a:xfrm>
              <a:off x="866130" y="2005529"/>
              <a:ext cx="7948468" cy="2936947"/>
            </a:xfrm>
            <a:prstGeom prst="rect">
              <a:avLst/>
            </a:prstGeom>
            <a:noFill/>
            <a:ln w="3175">
              <a:solidFill>
                <a:schemeClr val="bg1">
                  <a:lumMod val="65000"/>
                </a:schemeClr>
              </a:solidFill>
              <a:miter lim="800000"/>
            </a:ln>
            <a:extLst>
              <a:ext uri="{909E8E84-426E-40DD-AFC4-6F175D3DCCD1}">
                <a14:hiddenFill xmlns:a14="http://schemas.microsoft.com/office/drawing/2010/main">
                  <a:solidFill>
                    <a:srgbClr val="FFFFFF"/>
                  </a:solidFill>
                </a14:hiddenFill>
              </a:ext>
            </a:extLst>
          </p:spPr>
          <p:txBody>
            <a:bodyPr vert="horz" wrap="square" lIns="76828" tIns="38415" rIns="76828" bIns="38415" numCol="1" anchor="t" anchorCtr="0" compatLnSpc="1"/>
            <a:lstStyle/>
            <a:p>
              <a:endParaRPr lang="en-GB" sz="1680"/>
            </a:p>
          </p:txBody>
        </p:sp>
        <p:sp>
          <p:nvSpPr>
            <p:cNvPr id="169" name="Freeform 31"/>
            <p:cNvSpPr/>
            <p:nvPr/>
          </p:nvSpPr>
          <p:spPr bwMode="auto">
            <a:xfrm>
              <a:off x="2806282" y="1696698"/>
              <a:ext cx="2008414" cy="1233273"/>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70" name="Rectangle 68"/>
            <p:cNvSpPr/>
            <p:nvPr/>
          </p:nvSpPr>
          <p:spPr>
            <a:xfrm rot="2677252">
              <a:off x="3545574" y="2114416"/>
              <a:ext cx="1224769" cy="289741"/>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降低患者</a:t>
              </a:r>
              <a:r>
                <a:rPr lang="zh-CN" altLang="en-US" b="1" dirty="0">
                  <a:solidFill>
                    <a:srgbClr val="1A1918"/>
                  </a:solidFill>
                  <a:latin typeface="微软雅黑" panose="020B0503020204020204" pitchFamily="34" charset="-122"/>
                  <a:ea typeface="微软雅黑" panose="020B0503020204020204" pitchFamily="34" charset="-122"/>
                </a:rPr>
                <a:t>负担</a:t>
              </a:r>
              <a:endParaRPr lang="zh-CN" altLang="en-US" b="1" dirty="0">
                <a:solidFill>
                  <a:srgbClr val="1A1918"/>
                </a:solidFill>
                <a:latin typeface="微软雅黑" panose="020B0503020204020204" pitchFamily="34" charset="-122"/>
                <a:ea typeface="微软雅黑" panose="020B0503020204020204" pitchFamily="34" charset="-122"/>
              </a:endParaRPr>
            </a:p>
          </p:txBody>
        </p:sp>
        <p:sp>
          <p:nvSpPr>
            <p:cNvPr id="171" name="Freeform 32"/>
            <p:cNvSpPr/>
            <p:nvPr/>
          </p:nvSpPr>
          <p:spPr bwMode="auto">
            <a:xfrm>
              <a:off x="6198460" y="494247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74" name="Freeform 35"/>
            <p:cNvSpPr/>
            <p:nvPr/>
          </p:nvSpPr>
          <p:spPr bwMode="auto">
            <a:xfrm>
              <a:off x="4875198" y="4018032"/>
              <a:ext cx="2008415" cy="1233273"/>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93" name="Rectangle 72"/>
            <p:cNvSpPr/>
            <p:nvPr/>
          </p:nvSpPr>
          <p:spPr>
            <a:xfrm rot="2623787">
              <a:off x="4955649" y="4569573"/>
              <a:ext cx="1249406" cy="289741"/>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降低管理难度</a:t>
              </a:r>
              <a:endParaRPr lang="zh-CN" altLang="en-US" b="1" dirty="0">
                <a:solidFill>
                  <a:srgbClr val="1A1918"/>
                </a:solidFill>
                <a:latin typeface="微软雅黑" panose="020B0503020204020204" pitchFamily="34" charset="-122"/>
                <a:ea typeface="微软雅黑" panose="020B0503020204020204" pitchFamily="34" charset="-122"/>
              </a:endParaRPr>
            </a:p>
          </p:txBody>
        </p:sp>
        <p:sp>
          <p:nvSpPr>
            <p:cNvPr id="194" name="Freeform 31"/>
            <p:cNvSpPr/>
            <p:nvPr/>
          </p:nvSpPr>
          <p:spPr bwMode="auto">
            <a:xfrm flipH="1">
              <a:off x="4875198" y="1698340"/>
              <a:ext cx="2008414" cy="1233273"/>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95" name="Rectangle 76"/>
            <p:cNvSpPr/>
            <p:nvPr/>
          </p:nvSpPr>
          <p:spPr>
            <a:xfrm rot="18922748" flipH="1">
              <a:off x="4950639" y="2047306"/>
              <a:ext cx="1317429" cy="289741"/>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保临床</a:t>
              </a:r>
              <a:r>
                <a:rPr lang="zh-CN" altLang="en-US" b="1" dirty="0">
                  <a:solidFill>
                    <a:srgbClr val="1A1918"/>
                  </a:solidFill>
                  <a:latin typeface="微软雅黑" panose="020B0503020204020204" pitchFamily="34" charset="-122"/>
                  <a:ea typeface="微软雅黑" panose="020B0503020204020204" pitchFamily="34" charset="-122"/>
                </a:rPr>
                <a:t>需求</a:t>
              </a:r>
              <a:endParaRPr lang="zh-CN" altLang="en-US" b="1" dirty="0">
                <a:solidFill>
                  <a:srgbClr val="1A1918"/>
                </a:solidFill>
                <a:latin typeface="微软雅黑" panose="020B0503020204020204" pitchFamily="34" charset="-122"/>
                <a:ea typeface="微软雅黑" panose="020B0503020204020204" pitchFamily="34" charset="-122"/>
              </a:endParaRPr>
            </a:p>
          </p:txBody>
        </p:sp>
        <p:sp>
          <p:nvSpPr>
            <p:cNvPr id="196" name="Freeform 32"/>
            <p:cNvSpPr/>
            <p:nvPr/>
          </p:nvSpPr>
          <p:spPr bwMode="auto">
            <a:xfrm flipH="1">
              <a:off x="2636529" y="494247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97" name="Freeform 35"/>
            <p:cNvSpPr/>
            <p:nvPr/>
          </p:nvSpPr>
          <p:spPr bwMode="auto">
            <a:xfrm flipH="1">
              <a:off x="2806282" y="4018032"/>
              <a:ext cx="2008415" cy="1233273"/>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98" name="Rectangle 80"/>
            <p:cNvSpPr/>
            <p:nvPr/>
          </p:nvSpPr>
          <p:spPr>
            <a:xfrm rot="18976213" flipH="1">
              <a:off x="3588532" y="4546623"/>
              <a:ext cx="1214496" cy="290553"/>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弥补目录短板</a:t>
              </a:r>
              <a:endParaRPr lang="en-GB" b="1" dirty="0">
                <a:solidFill>
                  <a:srgbClr val="1A1918"/>
                </a:solidFill>
                <a:latin typeface="微软雅黑" panose="020B0503020204020204" pitchFamily="34" charset="-122"/>
                <a:ea typeface="微软雅黑" panose="020B0503020204020204" pitchFamily="34" charset="-122"/>
              </a:endParaRPr>
            </a:p>
          </p:txBody>
        </p:sp>
        <p:cxnSp>
          <p:nvCxnSpPr>
            <p:cNvPr id="199" name="Straight Connector 82"/>
            <p:cNvCxnSpPr/>
            <p:nvPr/>
          </p:nvCxnSpPr>
          <p:spPr>
            <a:xfrm flipV="1">
              <a:off x="6387737" y="2135727"/>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86"/>
            <p:cNvCxnSpPr/>
            <p:nvPr/>
          </p:nvCxnSpPr>
          <p:spPr>
            <a:xfrm flipV="1">
              <a:off x="6387737" y="4025842"/>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1" name="Rectangle 10"/>
            <p:cNvSpPr>
              <a:spLocks noChangeArrowheads="1"/>
            </p:cNvSpPr>
            <p:nvPr/>
          </p:nvSpPr>
          <p:spPr bwMode="auto">
            <a:xfrm>
              <a:off x="4106388" y="3204178"/>
              <a:ext cx="1504254" cy="677957"/>
            </a:xfrm>
            <a:prstGeom prst="rect">
              <a:avLst/>
            </a:prstGeom>
            <a:noFill/>
            <a:ln w="9525">
              <a:noFill/>
              <a:miter lim="800000"/>
            </a:ln>
          </p:spPr>
          <p:txBody>
            <a:bodyPr vert="horz" wrap="square" lIns="0" tIns="0" rIns="0" bIns="0" numCol="1" anchor="t" anchorCtr="0" compatLnSpc="1">
              <a:spAutoFit/>
            </a:bodyPr>
            <a:lstStyle/>
            <a:p>
              <a:pPr algn="ctr" defTabSz="671195" eaLnBrk="0" hangingPunct="0">
                <a:spcAft>
                  <a:spcPts val="170"/>
                </a:spcAft>
                <a:defRPr/>
              </a:pPr>
              <a:r>
                <a:rPr lang="zh-CN" altLang="en-US" sz="2800" b="1" kern="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体现公平性要求</a:t>
              </a:r>
              <a:endParaRPr lang="zh-CN" altLang="en-US" sz="2800" b="1" kern="0" dirty="0">
                <a:solidFill>
                  <a:schemeClr val="accent1"/>
                </a:solidFill>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202" name="Straight Connector 90"/>
            <p:cNvCxnSpPr/>
            <p:nvPr/>
          </p:nvCxnSpPr>
          <p:spPr>
            <a:xfrm flipV="1">
              <a:off x="3314225" y="2135727"/>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94"/>
            <p:cNvCxnSpPr/>
            <p:nvPr/>
          </p:nvCxnSpPr>
          <p:spPr>
            <a:xfrm flipV="1">
              <a:off x="3314225" y="4025842"/>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04" name="矩形: 圆角 203"/>
          <p:cNvSpPr/>
          <p:nvPr/>
        </p:nvSpPr>
        <p:spPr>
          <a:xfrm>
            <a:off x="1136015" y="2200910"/>
            <a:ext cx="3155315" cy="1297086"/>
          </a:xfrm>
          <a:prstGeom prst="roundRect">
            <a:avLst/>
          </a:prstGeom>
          <a:noFill/>
        </p:spPr>
        <p:txBody>
          <a:bodyPr wrap="square">
            <a:spAutoFit/>
          </a:bodyPr>
          <a:lstStyle/>
          <a:p>
            <a:pPr indent="0">
              <a:buFont typeface="Arial" panose="020B0604020202020204" pitchFamily="34" charset="0"/>
              <a:buNone/>
            </a:pPr>
            <a:endParaRPr lang="zh-CN" altLang="en-US" sz="1400" dirty="0">
              <a:solidFill>
                <a:srgbClr val="1A1918"/>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sym typeface="+mn-ea"/>
              </a:rPr>
              <a:t>降低了患者负担，</a:t>
            </a:r>
            <a:r>
              <a:rPr lang="zh-CN" altLang="en-US" sz="1400" dirty="0">
                <a:latin typeface="微软雅黑" panose="020B0503020204020204" pitchFamily="34" charset="-122"/>
                <a:ea typeface="微软雅黑" panose="020B0503020204020204" pitchFamily="34" charset="-122"/>
                <a:sym typeface="+mn-ea"/>
              </a:rPr>
              <a:t>减少血肿和创伤炎症反应，促进</a:t>
            </a:r>
            <a:r>
              <a:rPr lang="zh-CN" altLang="en-US" sz="1400" dirty="0">
                <a:latin typeface="微软雅黑" panose="020B0503020204020204" pitchFamily="34" charset="-122"/>
                <a:ea typeface="微软雅黑" panose="020B0503020204020204" pitchFamily="34" charset="-122"/>
                <a:sym typeface="+mn-ea"/>
              </a:rPr>
              <a:t>创面的愈合。减少病人的术后并发症，缩短住院时间，降低住院费用。</a:t>
            </a:r>
            <a:endParaRPr lang="zh-CN" altLang="en-US" sz="1400" dirty="0">
              <a:latin typeface="微软雅黑" panose="020B0503020204020204" pitchFamily="34" charset="-122"/>
              <a:ea typeface="微软雅黑" panose="020B0503020204020204" pitchFamily="34" charset="-122"/>
              <a:sym typeface="+mn-ea"/>
            </a:endParaRPr>
          </a:p>
        </p:txBody>
      </p:sp>
      <p:sp>
        <p:nvSpPr>
          <p:cNvPr id="205" name="矩形: 圆角 204"/>
          <p:cNvSpPr/>
          <p:nvPr/>
        </p:nvSpPr>
        <p:spPr>
          <a:xfrm>
            <a:off x="969010" y="4335780"/>
            <a:ext cx="3365500" cy="1772629"/>
          </a:xfrm>
          <a:prstGeom prst="roundRect">
            <a:avLst/>
          </a:prstGeom>
          <a:noFill/>
        </p:spPr>
        <p:txBody>
          <a:bodyPr wrap="square">
            <a:spAutoFit/>
          </a:bodyPr>
          <a:lstStyle/>
          <a:p>
            <a:pPr marL="285750" indent="-285750">
              <a:buFont typeface="Arial" panose="020B0604020202020204" pitchFamily="34" charset="0"/>
              <a:buChar char="•"/>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sym typeface="+mn-ea"/>
              </a:rPr>
              <a:t>弥补了目录内无</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双组份三因</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子【凝血因子</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rPr>
              <a:t>Ⅰ</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纤维蛋白原）</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rPr>
              <a:t>+</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凝血因子</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rPr>
              <a:t>Ⅱ</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凝血酶）</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rPr>
              <a:t>+</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凝血因子</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sym typeface="+mn-ea"/>
              </a:rPr>
              <a:t>XIII</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的局部止血产品。单组份</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产品不适用于凝血功能障碍的患者，本品</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可以弥补当前目录短板。</a:t>
            </a:r>
            <a:endPar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endPar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206" name="矩形: 圆角 205"/>
          <p:cNvSpPr/>
          <p:nvPr/>
        </p:nvSpPr>
        <p:spPr>
          <a:xfrm>
            <a:off x="8216417" y="2301115"/>
            <a:ext cx="3183245" cy="1294814"/>
          </a:xfrm>
          <a:prstGeom prst="roundRect">
            <a:avLst/>
          </a:prstGeom>
          <a:noFill/>
        </p:spPr>
        <p:txBody>
          <a:bodyPr wrap="square">
            <a:spAutoFit/>
          </a:bodyPr>
          <a:lstStyle/>
          <a:p>
            <a:pPr marL="171450" indent="-1714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控制出血不满意的外科</a:t>
            </a:r>
            <a:r>
              <a:rPr lang="zh-CN" altLang="en-US" sz="1400" dirty="0">
                <a:latin typeface="微软雅黑" panose="020B0503020204020204" pitchFamily="34" charset="-122"/>
                <a:ea typeface="微软雅黑" panose="020B0503020204020204" pitchFamily="34" charset="-122"/>
              </a:rPr>
              <a:t>手术是临床基本需求，</a:t>
            </a:r>
            <a:r>
              <a:rPr lang="zh-CN" altLang="en-US" sz="1400" dirty="0">
                <a:latin typeface="微软雅黑" panose="020B0503020204020204" pitchFamily="34" charset="-122"/>
                <a:ea typeface="微软雅黑" panose="020B0503020204020204" pitchFamily="34" charset="-122"/>
                <a:sym typeface="+mn-ea"/>
              </a:rPr>
              <a:t>控制</a:t>
            </a:r>
            <a:r>
              <a:rPr lang="zh-CN" altLang="en-US" sz="1400" dirty="0">
                <a:latin typeface="微软雅黑" panose="020B0503020204020204" pitchFamily="34" charset="-122"/>
                <a:ea typeface="微软雅黑" panose="020B0503020204020204" pitchFamily="34" charset="-122"/>
                <a:sym typeface="+mn-ea"/>
              </a:rPr>
              <a:t>不佳会延长手术时间，影响患者预后。</a:t>
            </a:r>
            <a:r>
              <a:rPr lang="zh-CN" altLang="en-US" sz="1400" dirty="0">
                <a:latin typeface="微软雅黑" panose="020B0503020204020204" pitchFamily="34" charset="-122"/>
                <a:ea typeface="微软雅黑" panose="020B0503020204020204" pitchFamily="34" charset="-122"/>
              </a:rPr>
              <a:t>本品具有确切的疗效和安全性，符合医保“保基本”的基本原则。</a:t>
            </a:r>
            <a:endParaRPr lang="zh-CN" altLang="en-US" sz="1400" dirty="0">
              <a:latin typeface="微软雅黑" panose="020B0503020204020204" pitchFamily="34" charset="-122"/>
              <a:ea typeface="微软雅黑" panose="020B0503020204020204" pitchFamily="34" charset="-122"/>
            </a:endParaRPr>
          </a:p>
        </p:txBody>
      </p:sp>
      <p:sp>
        <p:nvSpPr>
          <p:cNvPr id="207" name="矩形: 圆角 206"/>
          <p:cNvSpPr/>
          <p:nvPr/>
        </p:nvSpPr>
        <p:spPr>
          <a:xfrm>
            <a:off x="8230235" y="4592955"/>
            <a:ext cx="3105785" cy="1162050"/>
          </a:xfrm>
          <a:prstGeom prst="roundRect">
            <a:avLst/>
          </a:prstGeom>
          <a:noFill/>
        </p:spPr>
        <p:txBody>
          <a:bodyPr wrap="square">
            <a:noAutofit/>
          </a:bodyPr>
          <a:lstStyle/>
          <a:p>
            <a:pPr marL="285750" indent="-28575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适应症人群明确，常规手术操作不满意后使用，</a:t>
            </a:r>
            <a:r>
              <a:rPr lang="zh-CN" altLang="en-US" sz="1400" dirty="0">
                <a:solidFill>
                  <a:schemeClr val="tx1"/>
                </a:solidFill>
                <a:latin typeface="微软雅黑" panose="020B0503020204020204" pitchFamily="34" charset="-122"/>
                <a:ea typeface="微软雅黑" panose="020B0503020204020204" pitchFamily="34" charset="-122"/>
                <a:sym typeface="+mn-ea"/>
              </a:rPr>
              <a:t>只局限于</a:t>
            </a:r>
            <a:r>
              <a:rPr lang="zh-CN" altLang="en-US" sz="1400" dirty="0">
                <a:solidFill>
                  <a:schemeClr val="tx1"/>
                </a:solidFill>
                <a:latin typeface="微软雅黑" panose="020B0503020204020204" pitchFamily="34" charset="-122"/>
                <a:ea typeface="微软雅黑" panose="020B0503020204020204" pitchFamily="34" charset="-122"/>
              </a:rPr>
              <a:t>外科手术止血患者使用。</a:t>
            </a:r>
            <a:endParaRPr lang="zh-CN" altLang="en-US" sz="1400" dirty="0">
              <a:solidFill>
                <a:schemeClr val="tx1"/>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sym typeface="+mn-ea"/>
              </a:rPr>
              <a:t>明确适应症，</a:t>
            </a:r>
            <a:r>
              <a:rPr lang="zh-CN" altLang="en-US" sz="1400" dirty="0">
                <a:solidFill>
                  <a:schemeClr val="tx1"/>
                </a:solidFill>
                <a:latin typeface="微软雅黑" panose="020B0503020204020204" pitchFamily="34" charset="-122"/>
                <a:ea typeface="微软雅黑" panose="020B0503020204020204" pitchFamily="34" charset="-122"/>
              </a:rPr>
              <a:t>实现精准管理，避免临床滥用，降低管理</a:t>
            </a:r>
            <a:r>
              <a:rPr lang="zh-CN" altLang="en-US" sz="1400" dirty="0">
                <a:solidFill>
                  <a:schemeClr val="tx1"/>
                </a:solidFill>
                <a:latin typeface="微软雅黑" panose="020B0503020204020204" pitchFamily="34" charset="-122"/>
                <a:ea typeface="微软雅黑" panose="020B0503020204020204" pitchFamily="34" charset="-122"/>
              </a:rPr>
              <a:t>难度。</a:t>
            </a:r>
            <a:endParaRPr lang="zh-CN" altLang="en-US" sz="1400" dirty="0">
              <a:solidFill>
                <a:schemeClr val="tx1"/>
              </a:solidFill>
              <a:latin typeface="微软雅黑" panose="020B0503020204020204" pitchFamily="34" charset="-122"/>
              <a:ea typeface="微软雅黑" panose="020B0503020204020204" pitchFamily="34" charset="-122"/>
            </a:endParaRPr>
          </a:p>
        </p:txBody>
      </p:sp>
      <p:grpSp>
        <p:nvGrpSpPr>
          <p:cNvPr id="208" name="Group 142"/>
          <p:cNvGrpSpPr/>
          <p:nvPr/>
        </p:nvGrpSpPr>
        <p:grpSpPr>
          <a:xfrm>
            <a:off x="4100346" y="3822098"/>
            <a:ext cx="616463" cy="599892"/>
            <a:chOff x="-26973225" y="4703751"/>
            <a:chExt cx="8309141" cy="8309141"/>
          </a:xfrm>
        </p:grpSpPr>
        <p:sp>
          <p:nvSpPr>
            <p:cNvPr id="209" name="Freeform 55"/>
            <p:cNvSpPr/>
            <p:nvPr/>
          </p:nvSpPr>
          <p:spPr bwMode="auto">
            <a:xfrm>
              <a:off x="-26973225" y="4703751"/>
              <a:ext cx="8309141" cy="8309141"/>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4" y="4660"/>
                </a:cxn>
                <a:cxn ang="0">
                  <a:pos x="1356" y="4550"/>
                </a:cxn>
                <a:cxn ang="0">
                  <a:pos x="1102" y="4410"/>
                </a:cxn>
                <a:cxn ang="0">
                  <a:pos x="870" y="4240"/>
                </a:cxn>
                <a:cxn ang="0">
                  <a:pos x="660" y="4044"/>
                </a:cxn>
                <a:cxn ang="0">
                  <a:pos x="474"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2"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4"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2"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0" y="4678"/>
                  </a:lnTo>
                  <a:lnTo>
                    <a:pt x="1624"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4" y="3826"/>
                  </a:lnTo>
                  <a:lnTo>
                    <a:pt x="442" y="3778"/>
                  </a:lnTo>
                  <a:lnTo>
                    <a:pt x="408" y="3732"/>
                  </a:lnTo>
                  <a:lnTo>
                    <a:pt x="376" y="3684"/>
                  </a:lnTo>
                  <a:lnTo>
                    <a:pt x="346" y="3634"/>
                  </a:lnTo>
                  <a:lnTo>
                    <a:pt x="316" y="3584"/>
                  </a:lnTo>
                  <a:lnTo>
                    <a:pt x="288" y="3534"/>
                  </a:lnTo>
                  <a:lnTo>
                    <a:pt x="262" y="3482"/>
                  </a:lnTo>
                  <a:lnTo>
                    <a:pt x="236" y="3430"/>
                  </a:lnTo>
                  <a:lnTo>
                    <a:pt x="210" y="3378"/>
                  </a:lnTo>
                  <a:lnTo>
                    <a:pt x="188" y="3324"/>
                  </a:lnTo>
                  <a:lnTo>
                    <a:pt x="166" y="3270"/>
                  </a:lnTo>
                  <a:lnTo>
                    <a:pt x="144" y="3216"/>
                  </a:lnTo>
                  <a:lnTo>
                    <a:pt x="126" y="3160"/>
                  </a:lnTo>
                  <a:lnTo>
                    <a:pt x="108" y="3106"/>
                  </a:lnTo>
                  <a:lnTo>
                    <a:pt x="90" y="3048"/>
                  </a:lnTo>
                  <a:lnTo>
                    <a:pt x="74" y="2992"/>
                  </a:lnTo>
                  <a:lnTo>
                    <a:pt x="60" y="2934"/>
                  </a:lnTo>
                  <a:lnTo>
                    <a:pt x="48" y="2876"/>
                  </a:lnTo>
                  <a:lnTo>
                    <a:pt x="36"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6" y="1970"/>
                  </a:lnTo>
                  <a:lnTo>
                    <a:pt x="48" y="1912"/>
                  </a:lnTo>
                  <a:lnTo>
                    <a:pt x="60" y="1854"/>
                  </a:lnTo>
                  <a:lnTo>
                    <a:pt x="74" y="1796"/>
                  </a:lnTo>
                  <a:lnTo>
                    <a:pt x="90" y="1738"/>
                  </a:lnTo>
                  <a:lnTo>
                    <a:pt x="108" y="1682"/>
                  </a:lnTo>
                  <a:lnTo>
                    <a:pt x="126" y="1626"/>
                  </a:lnTo>
                  <a:lnTo>
                    <a:pt x="144" y="1570"/>
                  </a:lnTo>
                  <a:lnTo>
                    <a:pt x="166" y="1516"/>
                  </a:lnTo>
                  <a:lnTo>
                    <a:pt x="188" y="1462"/>
                  </a:lnTo>
                  <a:lnTo>
                    <a:pt x="210" y="1408"/>
                  </a:lnTo>
                  <a:lnTo>
                    <a:pt x="236" y="1356"/>
                  </a:lnTo>
                  <a:lnTo>
                    <a:pt x="262" y="1304"/>
                  </a:lnTo>
                  <a:lnTo>
                    <a:pt x="288" y="1252"/>
                  </a:lnTo>
                  <a:lnTo>
                    <a:pt x="316" y="1202"/>
                  </a:lnTo>
                  <a:lnTo>
                    <a:pt x="346" y="1152"/>
                  </a:lnTo>
                  <a:lnTo>
                    <a:pt x="376" y="1104"/>
                  </a:lnTo>
                  <a:lnTo>
                    <a:pt x="408" y="1056"/>
                  </a:lnTo>
                  <a:lnTo>
                    <a:pt x="442" y="1008"/>
                  </a:lnTo>
                  <a:lnTo>
                    <a:pt x="474"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4" y="126"/>
                  </a:lnTo>
                  <a:lnTo>
                    <a:pt x="1680"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2"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4"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2" y="2148"/>
                  </a:lnTo>
                  <a:lnTo>
                    <a:pt x="4778" y="2210"/>
                  </a:lnTo>
                  <a:lnTo>
                    <a:pt x="4782" y="2270"/>
                  </a:lnTo>
                  <a:lnTo>
                    <a:pt x="4784" y="2332"/>
                  </a:lnTo>
                  <a:lnTo>
                    <a:pt x="4786" y="2394"/>
                  </a:lnTo>
                  <a:lnTo>
                    <a:pt x="4786" y="2394"/>
                  </a:lnTo>
                  <a:close/>
                </a:path>
              </a:pathLst>
            </a:custGeom>
            <a:solidFill>
              <a:schemeClr val="bg1">
                <a:lumMod val="75000"/>
              </a:schemeClr>
            </a:solidFill>
            <a:ln w="9525">
              <a:noFill/>
              <a:round/>
            </a:ln>
          </p:spPr>
          <p:txBody>
            <a:bodyPr vert="horz" wrap="square" lIns="91440" tIns="45720" rIns="91440" bIns="45720" numCol="1" anchor="t" anchorCtr="0" compatLnSpc="1"/>
            <a:lstStyle/>
            <a:p>
              <a:endParaRPr lang="en-GB"/>
            </a:p>
          </p:txBody>
        </p:sp>
        <p:sp>
          <p:nvSpPr>
            <p:cNvPr id="210" name="Rectangle 56"/>
            <p:cNvSpPr>
              <a:spLocks noChangeArrowheads="1"/>
            </p:cNvSpPr>
            <p:nvPr/>
          </p:nvSpPr>
          <p:spPr bwMode="auto">
            <a:xfrm>
              <a:off x="-21280438" y="9863138"/>
              <a:ext cx="161925" cy="158750"/>
            </a:xfrm>
            <a:prstGeom prst="rect">
              <a:avLst/>
            </a:prstGeom>
            <a:solidFill>
              <a:srgbClr val="FFFFFF"/>
            </a:solidFill>
            <a:ln w="9525">
              <a:noFill/>
              <a:miter lim="800000"/>
            </a:ln>
          </p:spPr>
          <p:txBody>
            <a:bodyPr vert="horz" wrap="square" lIns="91440" tIns="45720" rIns="91440" bIns="45720" numCol="1" anchor="t" anchorCtr="0" compatLnSpc="1"/>
            <a:lstStyle/>
            <a:p>
              <a:endParaRPr lang="en-GB"/>
            </a:p>
          </p:txBody>
        </p:sp>
        <p:sp>
          <p:nvSpPr>
            <p:cNvPr id="211" name="Rectangle 57"/>
            <p:cNvSpPr>
              <a:spLocks noChangeArrowheads="1"/>
            </p:cNvSpPr>
            <p:nvPr/>
          </p:nvSpPr>
          <p:spPr bwMode="auto">
            <a:xfrm>
              <a:off x="-20953413" y="9863138"/>
              <a:ext cx="165100" cy="158750"/>
            </a:xfrm>
            <a:prstGeom prst="rect">
              <a:avLst/>
            </a:prstGeom>
            <a:solidFill>
              <a:srgbClr val="FFFFFF"/>
            </a:solidFill>
            <a:ln w="9525">
              <a:noFill/>
              <a:miter lim="800000"/>
            </a:ln>
          </p:spPr>
          <p:txBody>
            <a:bodyPr vert="horz" wrap="square" lIns="91440" tIns="45720" rIns="91440" bIns="45720" numCol="1" anchor="t" anchorCtr="0" compatLnSpc="1"/>
            <a:lstStyle/>
            <a:p>
              <a:endParaRPr lang="en-GB"/>
            </a:p>
          </p:txBody>
        </p:sp>
        <p:sp>
          <p:nvSpPr>
            <p:cNvPr id="212" name="Rectangle 58"/>
            <p:cNvSpPr>
              <a:spLocks noChangeArrowheads="1"/>
            </p:cNvSpPr>
            <p:nvPr/>
          </p:nvSpPr>
          <p:spPr bwMode="auto">
            <a:xfrm>
              <a:off x="-22267863" y="9863138"/>
              <a:ext cx="165100" cy="158750"/>
            </a:xfrm>
            <a:prstGeom prst="rect">
              <a:avLst/>
            </a:prstGeom>
            <a:solidFill>
              <a:srgbClr val="FFFFFF"/>
            </a:solidFill>
            <a:ln w="9525">
              <a:noFill/>
              <a:miter lim="800000"/>
            </a:ln>
          </p:spPr>
          <p:txBody>
            <a:bodyPr vert="horz" wrap="square" lIns="91440" tIns="45720" rIns="91440" bIns="45720" numCol="1" anchor="t" anchorCtr="0" compatLnSpc="1"/>
            <a:lstStyle/>
            <a:p>
              <a:endParaRPr lang="en-GB"/>
            </a:p>
          </p:txBody>
        </p:sp>
        <p:sp>
          <p:nvSpPr>
            <p:cNvPr id="213" name="Rectangle 59"/>
            <p:cNvSpPr>
              <a:spLocks noChangeArrowheads="1"/>
            </p:cNvSpPr>
            <p:nvPr/>
          </p:nvSpPr>
          <p:spPr bwMode="auto">
            <a:xfrm>
              <a:off x="-21610638" y="9863138"/>
              <a:ext cx="165100" cy="158750"/>
            </a:xfrm>
            <a:prstGeom prst="rect">
              <a:avLst/>
            </a:prstGeom>
            <a:solidFill>
              <a:srgbClr val="FFFFFF"/>
            </a:solidFill>
            <a:ln w="9525">
              <a:noFill/>
              <a:miter lim="800000"/>
            </a:ln>
          </p:spPr>
          <p:txBody>
            <a:bodyPr vert="horz" wrap="square" lIns="91440" tIns="45720" rIns="91440" bIns="45720" numCol="1" anchor="t" anchorCtr="0" compatLnSpc="1"/>
            <a:lstStyle/>
            <a:p>
              <a:endParaRPr lang="en-GB"/>
            </a:p>
          </p:txBody>
        </p:sp>
        <p:sp>
          <p:nvSpPr>
            <p:cNvPr id="214" name="Rectangle 60"/>
            <p:cNvSpPr>
              <a:spLocks noChangeArrowheads="1"/>
            </p:cNvSpPr>
            <p:nvPr/>
          </p:nvSpPr>
          <p:spPr bwMode="auto">
            <a:xfrm>
              <a:off x="-21937663" y="9863138"/>
              <a:ext cx="161925" cy="158750"/>
            </a:xfrm>
            <a:prstGeom prst="rect">
              <a:avLst/>
            </a:prstGeom>
            <a:solidFill>
              <a:srgbClr val="FFFFFF"/>
            </a:solidFill>
            <a:ln w="9525">
              <a:noFill/>
              <a:miter lim="800000"/>
            </a:ln>
          </p:spPr>
          <p:txBody>
            <a:bodyPr vert="horz" wrap="square" lIns="91440" tIns="45720" rIns="91440" bIns="45720" numCol="1" anchor="t" anchorCtr="0" compatLnSpc="1"/>
            <a:lstStyle/>
            <a:p>
              <a:endParaRPr lang="en-GB"/>
            </a:p>
          </p:txBody>
        </p:sp>
        <p:sp>
          <p:nvSpPr>
            <p:cNvPr id="215" name="Freeform 61"/>
            <p:cNvSpPr/>
            <p:nvPr/>
          </p:nvSpPr>
          <p:spPr bwMode="auto">
            <a:xfrm>
              <a:off x="-24896763" y="9863138"/>
              <a:ext cx="2495550" cy="158750"/>
            </a:xfrm>
            <a:custGeom>
              <a:avLst/>
              <a:gdLst/>
              <a:ahLst/>
              <a:cxnLst>
                <a:cxn ang="0">
                  <a:pos x="348" y="0"/>
                </a:cxn>
                <a:cxn ang="0">
                  <a:pos x="348" y="0"/>
                </a:cxn>
                <a:cxn ang="0">
                  <a:pos x="260" y="32"/>
                </a:cxn>
                <a:cxn ang="0">
                  <a:pos x="170" y="58"/>
                </a:cxn>
                <a:cxn ang="0">
                  <a:pos x="84" y="80"/>
                </a:cxn>
                <a:cxn ang="0">
                  <a:pos x="0" y="100"/>
                </a:cxn>
                <a:cxn ang="0">
                  <a:pos x="0" y="100"/>
                </a:cxn>
                <a:cxn ang="0">
                  <a:pos x="1552" y="100"/>
                </a:cxn>
                <a:cxn ang="0">
                  <a:pos x="1572" y="100"/>
                </a:cxn>
                <a:cxn ang="0">
                  <a:pos x="1572" y="0"/>
                </a:cxn>
                <a:cxn ang="0">
                  <a:pos x="1552" y="0"/>
                </a:cxn>
                <a:cxn ang="0">
                  <a:pos x="1552" y="0"/>
                </a:cxn>
                <a:cxn ang="0">
                  <a:pos x="348" y="0"/>
                </a:cxn>
                <a:cxn ang="0">
                  <a:pos x="348" y="0"/>
                </a:cxn>
              </a:cxnLst>
              <a:rect l="0" t="0" r="r" b="b"/>
              <a:pathLst>
                <a:path w="1572" h="100">
                  <a:moveTo>
                    <a:pt x="348" y="0"/>
                  </a:moveTo>
                  <a:lnTo>
                    <a:pt x="348" y="0"/>
                  </a:lnTo>
                  <a:lnTo>
                    <a:pt x="260" y="32"/>
                  </a:lnTo>
                  <a:lnTo>
                    <a:pt x="170" y="58"/>
                  </a:lnTo>
                  <a:lnTo>
                    <a:pt x="84" y="80"/>
                  </a:lnTo>
                  <a:lnTo>
                    <a:pt x="0" y="100"/>
                  </a:lnTo>
                  <a:lnTo>
                    <a:pt x="0" y="100"/>
                  </a:lnTo>
                  <a:lnTo>
                    <a:pt x="1552" y="100"/>
                  </a:lnTo>
                  <a:lnTo>
                    <a:pt x="1572" y="100"/>
                  </a:lnTo>
                  <a:lnTo>
                    <a:pt x="1572" y="0"/>
                  </a:lnTo>
                  <a:lnTo>
                    <a:pt x="1552" y="0"/>
                  </a:lnTo>
                  <a:lnTo>
                    <a:pt x="1552" y="0"/>
                  </a:lnTo>
                  <a:lnTo>
                    <a:pt x="348" y="0"/>
                  </a:lnTo>
                  <a:lnTo>
                    <a:pt x="348"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216" name="Freeform 62"/>
            <p:cNvSpPr>
              <a:spLocks noEditPoints="1"/>
            </p:cNvSpPr>
            <p:nvPr/>
          </p:nvSpPr>
          <p:spPr bwMode="auto">
            <a:xfrm>
              <a:off x="-25560338" y="5957888"/>
              <a:ext cx="4441825" cy="4064000"/>
            </a:xfrm>
            <a:custGeom>
              <a:avLst/>
              <a:gdLst/>
              <a:ahLst/>
              <a:cxnLst>
                <a:cxn ang="0">
                  <a:pos x="1956" y="1082"/>
                </a:cxn>
                <a:cxn ang="0">
                  <a:pos x="2798" y="238"/>
                </a:cxn>
                <a:cxn ang="0">
                  <a:pos x="2560" y="0"/>
                </a:cxn>
                <a:cxn ang="0">
                  <a:pos x="1716" y="842"/>
                </a:cxn>
                <a:cxn ang="0">
                  <a:pos x="1648" y="912"/>
                </a:cxn>
                <a:cxn ang="0">
                  <a:pos x="0" y="2560"/>
                </a:cxn>
                <a:cxn ang="0">
                  <a:pos x="0" y="2560"/>
                </a:cxn>
                <a:cxn ang="0">
                  <a:pos x="52" y="2556"/>
                </a:cxn>
                <a:cxn ang="0">
                  <a:pos x="108" y="2552"/>
                </a:cxn>
                <a:cxn ang="0">
                  <a:pos x="166" y="2546"/>
                </a:cxn>
                <a:cxn ang="0">
                  <a:pos x="226" y="2536"/>
                </a:cxn>
                <a:cxn ang="0">
                  <a:pos x="288" y="2524"/>
                </a:cxn>
                <a:cxn ang="0">
                  <a:pos x="352" y="2510"/>
                </a:cxn>
                <a:cxn ang="0">
                  <a:pos x="418" y="2494"/>
                </a:cxn>
                <a:cxn ang="0">
                  <a:pos x="486" y="2476"/>
                </a:cxn>
                <a:cxn ang="0">
                  <a:pos x="554" y="2454"/>
                </a:cxn>
                <a:cxn ang="0">
                  <a:pos x="624" y="2428"/>
                </a:cxn>
                <a:cxn ang="0">
                  <a:pos x="694" y="2402"/>
                </a:cxn>
                <a:cxn ang="0">
                  <a:pos x="764" y="2372"/>
                </a:cxn>
                <a:cxn ang="0">
                  <a:pos x="834" y="2338"/>
                </a:cxn>
                <a:cxn ang="0">
                  <a:pos x="906" y="2304"/>
                </a:cxn>
                <a:cxn ang="0">
                  <a:pos x="976" y="2264"/>
                </a:cxn>
                <a:cxn ang="0">
                  <a:pos x="1046" y="2222"/>
                </a:cxn>
                <a:cxn ang="0">
                  <a:pos x="1116" y="2178"/>
                </a:cxn>
                <a:cxn ang="0">
                  <a:pos x="1186" y="2128"/>
                </a:cxn>
                <a:cxn ang="0">
                  <a:pos x="1254" y="2078"/>
                </a:cxn>
                <a:cxn ang="0">
                  <a:pos x="1322" y="2022"/>
                </a:cxn>
                <a:cxn ang="0">
                  <a:pos x="1386" y="1964"/>
                </a:cxn>
                <a:cxn ang="0">
                  <a:pos x="1450" y="1902"/>
                </a:cxn>
                <a:cxn ang="0">
                  <a:pos x="1514" y="1838"/>
                </a:cxn>
                <a:cxn ang="0">
                  <a:pos x="1574" y="1768"/>
                </a:cxn>
                <a:cxn ang="0">
                  <a:pos x="1632" y="1696"/>
                </a:cxn>
                <a:cxn ang="0">
                  <a:pos x="1686" y="1620"/>
                </a:cxn>
                <a:cxn ang="0">
                  <a:pos x="1740" y="1540"/>
                </a:cxn>
                <a:cxn ang="0">
                  <a:pos x="1790" y="1456"/>
                </a:cxn>
                <a:cxn ang="0">
                  <a:pos x="1836" y="1368"/>
                </a:cxn>
                <a:cxn ang="0">
                  <a:pos x="1858" y="1324"/>
                </a:cxn>
                <a:cxn ang="0">
                  <a:pos x="1880" y="1276"/>
                </a:cxn>
                <a:cxn ang="0">
                  <a:pos x="1900" y="1230"/>
                </a:cxn>
                <a:cxn ang="0">
                  <a:pos x="1920" y="1182"/>
                </a:cxn>
                <a:cxn ang="0">
                  <a:pos x="1938" y="1132"/>
                </a:cxn>
                <a:cxn ang="0">
                  <a:pos x="1956" y="1082"/>
                </a:cxn>
                <a:cxn ang="0">
                  <a:pos x="1956" y="1082"/>
                </a:cxn>
                <a:cxn ang="0">
                  <a:pos x="2588" y="96"/>
                </a:cxn>
                <a:cxn ang="0">
                  <a:pos x="2658" y="166"/>
                </a:cxn>
                <a:cxn ang="0">
                  <a:pos x="1868" y="958"/>
                </a:cxn>
                <a:cxn ang="0">
                  <a:pos x="1796" y="888"/>
                </a:cxn>
                <a:cxn ang="0">
                  <a:pos x="2588" y="96"/>
                </a:cxn>
              </a:cxnLst>
              <a:rect l="0" t="0" r="r" b="b"/>
              <a:pathLst>
                <a:path w="2798" h="2560">
                  <a:moveTo>
                    <a:pt x="1956" y="1082"/>
                  </a:moveTo>
                  <a:lnTo>
                    <a:pt x="2798" y="238"/>
                  </a:lnTo>
                  <a:lnTo>
                    <a:pt x="2560" y="0"/>
                  </a:lnTo>
                  <a:lnTo>
                    <a:pt x="1716" y="842"/>
                  </a:lnTo>
                  <a:lnTo>
                    <a:pt x="1648" y="912"/>
                  </a:lnTo>
                  <a:lnTo>
                    <a:pt x="0" y="2560"/>
                  </a:lnTo>
                  <a:lnTo>
                    <a:pt x="0" y="2560"/>
                  </a:lnTo>
                  <a:lnTo>
                    <a:pt x="52" y="2556"/>
                  </a:lnTo>
                  <a:lnTo>
                    <a:pt x="108" y="2552"/>
                  </a:lnTo>
                  <a:lnTo>
                    <a:pt x="166" y="2546"/>
                  </a:lnTo>
                  <a:lnTo>
                    <a:pt x="226" y="2536"/>
                  </a:lnTo>
                  <a:lnTo>
                    <a:pt x="288" y="2524"/>
                  </a:lnTo>
                  <a:lnTo>
                    <a:pt x="352" y="2510"/>
                  </a:lnTo>
                  <a:lnTo>
                    <a:pt x="418" y="2494"/>
                  </a:lnTo>
                  <a:lnTo>
                    <a:pt x="486" y="2476"/>
                  </a:lnTo>
                  <a:lnTo>
                    <a:pt x="554" y="2454"/>
                  </a:lnTo>
                  <a:lnTo>
                    <a:pt x="624" y="2428"/>
                  </a:lnTo>
                  <a:lnTo>
                    <a:pt x="694" y="2402"/>
                  </a:lnTo>
                  <a:lnTo>
                    <a:pt x="764" y="2372"/>
                  </a:lnTo>
                  <a:lnTo>
                    <a:pt x="834" y="2338"/>
                  </a:lnTo>
                  <a:lnTo>
                    <a:pt x="906" y="2304"/>
                  </a:lnTo>
                  <a:lnTo>
                    <a:pt x="976" y="2264"/>
                  </a:lnTo>
                  <a:lnTo>
                    <a:pt x="1046" y="2222"/>
                  </a:lnTo>
                  <a:lnTo>
                    <a:pt x="1116" y="2178"/>
                  </a:lnTo>
                  <a:lnTo>
                    <a:pt x="1186" y="2128"/>
                  </a:lnTo>
                  <a:lnTo>
                    <a:pt x="1254" y="2078"/>
                  </a:lnTo>
                  <a:lnTo>
                    <a:pt x="1322" y="2022"/>
                  </a:lnTo>
                  <a:lnTo>
                    <a:pt x="1386" y="1964"/>
                  </a:lnTo>
                  <a:lnTo>
                    <a:pt x="1450" y="1902"/>
                  </a:lnTo>
                  <a:lnTo>
                    <a:pt x="1514" y="1838"/>
                  </a:lnTo>
                  <a:lnTo>
                    <a:pt x="1574" y="1768"/>
                  </a:lnTo>
                  <a:lnTo>
                    <a:pt x="1632" y="1696"/>
                  </a:lnTo>
                  <a:lnTo>
                    <a:pt x="1686" y="1620"/>
                  </a:lnTo>
                  <a:lnTo>
                    <a:pt x="1740" y="1540"/>
                  </a:lnTo>
                  <a:lnTo>
                    <a:pt x="1790" y="1456"/>
                  </a:lnTo>
                  <a:lnTo>
                    <a:pt x="1836" y="1368"/>
                  </a:lnTo>
                  <a:lnTo>
                    <a:pt x="1858" y="1324"/>
                  </a:lnTo>
                  <a:lnTo>
                    <a:pt x="1880" y="1276"/>
                  </a:lnTo>
                  <a:lnTo>
                    <a:pt x="1900" y="1230"/>
                  </a:lnTo>
                  <a:lnTo>
                    <a:pt x="1920" y="1182"/>
                  </a:lnTo>
                  <a:lnTo>
                    <a:pt x="1938" y="1132"/>
                  </a:lnTo>
                  <a:lnTo>
                    <a:pt x="1956" y="1082"/>
                  </a:lnTo>
                  <a:lnTo>
                    <a:pt x="1956" y="1082"/>
                  </a:lnTo>
                  <a:close/>
                  <a:moveTo>
                    <a:pt x="2588" y="96"/>
                  </a:moveTo>
                  <a:lnTo>
                    <a:pt x="2658" y="166"/>
                  </a:lnTo>
                  <a:lnTo>
                    <a:pt x="1868" y="958"/>
                  </a:lnTo>
                  <a:lnTo>
                    <a:pt x="1796" y="888"/>
                  </a:lnTo>
                  <a:lnTo>
                    <a:pt x="2588" y="96"/>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grpSp>
      <p:grpSp>
        <p:nvGrpSpPr>
          <p:cNvPr id="217" name="Group 147"/>
          <p:cNvGrpSpPr/>
          <p:nvPr/>
        </p:nvGrpSpPr>
        <p:grpSpPr>
          <a:xfrm>
            <a:off x="7687455" y="3822098"/>
            <a:ext cx="616463" cy="599892"/>
            <a:chOff x="2967038" y="24664988"/>
            <a:chExt cx="7183459" cy="7183459"/>
          </a:xfrm>
        </p:grpSpPr>
        <p:sp>
          <p:nvSpPr>
            <p:cNvPr id="218" name="Freeform 106"/>
            <p:cNvSpPr/>
            <p:nvPr/>
          </p:nvSpPr>
          <p:spPr bwMode="auto">
            <a:xfrm>
              <a:off x="2967038" y="24664988"/>
              <a:ext cx="7183459" cy="7183459"/>
            </a:xfrm>
            <a:custGeom>
              <a:avLst/>
              <a:gdLst/>
              <a:ahLst/>
              <a:cxnLst>
                <a:cxn ang="0">
                  <a:pos x="4780" y="2578"/>
                </a:cxn>
                <a:cxn ang="0">
                  <a:pos x="4738" y="2876"/>
                </a:cxn>
                <a:cxn ang="0">
                  <a:pos x="4660" y="3162"/>
                </a:cxn>
                <a:cxn ang="0">
                  <a:pos x="4550" y="3430"/>
                </a:cxn>
                <a:cxn ang="0">
                  <a:pos x="4410" y="3684"/>
                </a:cxn>
                <a:cxn ang="0">
                  <a:pos x="4240" y="3916"/>
                </a:cxn>
                <a:cxn ang="0">
                  <a:pos x="4044" y="4126"/>
                </a:cxn>
                <a:cxn ang="0">
                  <a:pos x="3826" y="4312"/>
                </a:cxn>
                <a:cxn ang="0">
                  <a:pos x="3584" y="4470"/>
                </a:cxn>
                <a:cxn ang="0">
                  <a:pos x="3324" y="4598"/>
                </a:cxn>
                <a:cxn ang="0">
                  <a:pos x="3048" y="4696"/>
                </a:cxn>
                <a:cxn ang="0">
                  <a:pos x="2758" y="4758"/>
                </a:cxn>
                <a:cxn ang="0">
                  <a:pos x="2456" y="4786"/>
                </a:cxn>
                <a:cxn ang="0">
                  <a:pos x="2210" y="4780"/>
                </a:cxn>
                <a:cxn ang="0">
                  <a:pos x="1912" y="4738"/>
                </a:cxn>
                <a:cxn ang="0">
                  <a:pos x="1626" y="4660"/>
                </a:cxn>
                <a:cxn ang="0">
                  <a:pos x="1356" y="4550"/>
                </a:cxn>
                <a:cxn ang="0">
                  <a:pos x="1104" y="4410"/>
                </a:cxn>
                <a:cxn ang="0">
                  <a:pos x="872" y="4240"/>
                </a:cxn>
                <a:cxn ang="0">
                  <a:pos x="662" y="4044"/>
                </a:cxn>
                <a:cxn ang="0">
                  <a:pos x="476" y="3826"/>
                </a:cxn>
                <a:cxn ang="0">
                  <a:pos x="318" y="3584"/>
                </a:cxn>
                <a:cxn ang="0">
                  <a:pos x="188" y="3324"/>
                </a:cxn>
                <a:cxn ang="0">
                  <a:pos x="92" y="3048"/>
                </a:cxn>
                <a:cxn ang="0">
                  <a:pos x="28" y="2758"/>
                </a:cxn>
                <a:cxn ang="0">
                  <a:pos x="2" y="2456"/>
                </a:cxn>
                <a:cxn ang="0">
                  <a:pos x="8" y="2210"/>
                </a:cxn>
                <a:cxn ang="0">
                  <a:pos x="50" y="1912"/>
                </a:cxn>
                <a:cxn ang="0">
                  <a:pos x="126" y="1626"/>
                </a:cxn>
                <a:cxn ang="0">
                  <a:pos x="236" y="1356"/>
                </a:cxn>
                <a:cxn ang="0">
                  <a:pos x="378" y="1104"/>
                </a:cxn>
                <a:cxn ang="0">
                  <a:pos x="548" y="872"/>
                </a:cxn>
                <a:cxn ang="0">
                  <a:pos x="742" y="662"/>
                </a:cxn>
                <a:cxn ang="0">
                  <a:pos x="962" y="476"/>
                </a:cxn>
                <a:cxn ang="0">
                  <a:pos x="1202" y="318"/>
                </a:cxn>
                <a:cxn ang="0">
                  <a:pos x="1462" y="188"/>
                </a:cxn>
                <a:cxn ang="0">
                  <a:pos x="1738" y="92"/>
                </a:cxn>
                <a:cxn ang="0">
                  <a:pos x="2030" y="28"/>
                </a:cxn>
                <a:cxn ang="0">
                  <a:pos x="2332" y="2"/>
                </a:cxn>
                <a:cxn ang="0">
                  <a:pos x="2578" y="8"/>
                </a:cxn>
                <a:cxn ang="0">
                  <a:pos x="2876" y="50"/>
                </a:cxn>
                <a:cxn ang="0">
                  <a:pos x="3160" y="126"/>
                </a:cxn>
                <a:cxn ang="0">
                  <a:pos x="3430" y="236"/>
                </a:cxn>
                <a:cxn ang="0">
                  <a:pos x="3684" y="378"/>
                </a:cxn>
                <a:cxn ang="0">
                  <a:pos x="3916" y="548"/>
                </a:cxn>
                <a:cxn ang="0">
                  <a:pos x="4126" y="742"/>
                </a:cxn>
                <a:cxn ang="0">
                  <a:pos x="4310" y="962"/>
                </a:cxn>
                <a:cxn ang="0">
                  <a:pos x="4470" y="1202"/>
                </a:cxn>
                <a:cxn ang="0">
                  <a:pos x="4598" y="1462"/>
                </a:cxn>
                <a:cxn ang="0">
                  <a:pos x="4696" y="1738"/>
                </a:cxn>
                <a:cxn ang="0">
                  <a:pos x="4758" y="2030"/>
                </a:cxn>
                <a:cxn ang="0">
                  <a:pos x="4786" y="2332"/>
                </a:cxn>
              </a:cxnLst>
              <a:rect l="0" t="0" r="r" b="b"/>
              <a:pathLst>
                <a:path w="4786" h="4786">
                  <a:moveTo>
                    <a:pt x="4786" y="2394"/>
                  </a:moveTo>
                  <a:lnTo>
                    <a:pt x="4786" y="2394"/>
                  </a:lnTo>
                  <a:lnTo>
                    <a:pt x="4786" y="2456"/>
                  </a:lnTo>
                  <a:lnTo>
                    <a:pt x="4784" y="2516"/>
                  </a:lnTo>
                  <a:lnTo>
                    <a:pt x="4780" y="2578"/>
                  </a:lnTo>
                  <a:lnTo>
                    <a:pt x="4774" y="2638"/>
                  </a:lnTo>
                  <a:lnTo>
                    <a:pt x="4768" y="2698"/>
                  </a:lnTo>
                  <a:lnTo>
                    <a:pt x="4758" y="2758"/>
                  </a:lnTo>
                  <a:lnTo>
                    <a:pt x="4748" y="2818"/>
                  </a:lnTo>
                  <a:lnTo>
                    <a:pt x="4738" y="2876"/>
                  </a:lnTo>
                  <a:lnTo>
                    <a:pt x="4726" y="2934"/>
                  </a:lnTo>
                  <a:lnTo>
                    <a:pt x="4712" y="2992"/>
                  </a:lnTo>
                  <a:lnTo>
                    <a:pt x="4696" y="3048"/>
                  </a:lnTo>
                  <a:lnTo>
                    <a:pt x="4678" y="3106"/>
                  </a:lnTo>
                  <a:lnTo>
                    <a:pt x="4660" y="3162"/>
                  </a:lnTo>
                  <a:lnTo>
                    <a:pt x="4642" y="3216"/>
                  </a:lnTo>
                  <a:lnTo>
                    <a:pt x="4620" y="3270"/>
                  </a:lnTo>
                  <a:lnTo>
                    <a:pt x="4598" y="3324"/>
                  </a:lnTo>
                  <a:lnTo>
                    <a:pt x="4574" y="3378"/>
                  </a:lnTo>
                  <a:lnTo>
                    <a:pt x="4550" y="3430"/>
                  </a:lnTo>
                  <a:lnTo>
                    <a:pt x="4524" y="3482"/>
                  </a:lnTo>
                  <a:lnTo>
                    <a:pt x="4498" y="3534"/>
                  </a:lnTo>
                  <a:lnTo>
                    <a:pt x="4470" y="3584"/>
                  </a:lnTo>
                  <a:lnTo>
                    <a:pt x="4440" y="3634"/>
                  </a:lnTo>
                  <a:lnTo>
                    <a:pt x="4410" y="3684"/>
                  </a:lnTo>
                  <a:lnTo>
                    <a:pt x="4378" y="3732"/>
                  </a:lnTo>
                  <a:lnTo>
                    <a:pt x="4344" y="3778"/>
                  </a:lnTo>
                  <a:lnTo>
                    <a:pt x="4310" y="3826"/>
                  </a:lnTo>
                  <a:lnTo>
                    <a:pt x="4276" y="3870"/>
                  </a:lnTo>
                  <a:lnTo>
                    <a:pt x="4240" y="3916"/>
                  </a:lnTo>
                  <a:lnTo>
                    <a:pt x="4202" y="3960"/>
                  </a:lnTo>
                  <a:lnTo>
                    <a:pt x="4164" y="4002"/>
                  </a:lnTo>
                  <a:lnTo>
                    <a:pt x="4126" y="4044"/>
                  </a:lnTo>
                  <a:lnTo>
                    <a:pt x="4086" y="4086"/>
                  </a:lnTo>
                  <a:lnTo>
                    <a:pt x="4044" y="4126"/>
                  </a:lnTo>
                  <a:lnTo>
                    <a:pt x="4002" y="4164"/>
                  </a:lnTo>
                  <a:lnTo>
                    <a:pt x="3960" y="4202"/>
                  </a:lnTo>
                  <a:lnTo>
                    <a:pt x="3916" y="4240"/>
                  </a:lnTo>
                  <a:lnTo>
                    <a:pt x="3870" y="4276"/>
                  </a:lnTo>
                  <a:lnTo>
                    <a:pt x="3826" y="4312"/>
                  </a:lnTo>
                  <a:lnTo>
                    <a:pt x="3778" y="4344"/>
                  </a:lnTo>
                  <a:lnTo>
                    <a:pt x="3732" y="4378"/>
                  </a:lnTo>
                  <a:lnTo>
                    <a:pt x="3684" y="4410"/>
                  </a:lnTo>
                  <a:lnTo>
                    <a:pt x="3634" y="4440"/>
                  </a:lnTo>
                  <a:lnTo>
                    <a:pt x="3584" y="4470"/>
                  </a:lnTo>
                  <a:lnTo>
                    <a:pt x="3534" y="4498"/>
                  </a:lnTo>
                  <a:lnTo>
                    <a:pt x="3482" y="4524"/>
                  </a:lnTo>
                  <a:lnTo>
                    <a:pt x="3430" y="4550"/>
                  </a:lnTo>
                  <a:lnTo>
                    <a:pt x="3378" y="4576"/>
                  </a:lnTo>
                  <a:lnTo>
                    <a:pt x="3324" y="4598"/>
                  </a:lnTo>
                  <a:lnTo>
                    <a:pt x="3270" y="4620"/>
                  </a:lnTo>
                  <a:lnTo>
                    <a:pt x="3216" y="4642"/>
                  </a:lnTo>
                  <a:lnTo>
                    <a:pt x="3160" y="4660"/>
                  </a:lnTo>
                  <a:lnTo>
                    <a:pt x="3106" y="4678"/>
                  </a:lnTo>
                  <a:lnTo>
                    <a:pt x="3048" y="4696"/>
                  </a:lnTo>
                  <a:lnTo>
                    <a:pt x="2992" y="4712"/>
                  </a:lnTo>
                  <a:lnTo>
                    <a:pt x="2934" y="4726"/>
                  </a:lnTo>
                  <a:lnTo>
                    <a:pt x="2876" y="4738"/>
                  </a:lnTo>
                  <a:lnTo>
                    <a:pt x="2818" y="4750"/>
                  </a:lnTo>
                  <a:lnTo>
                    <a:pt x="2758" y="4758"/>
                  </a:lnTo>
                  <a:lnTo>
                    <a:pt x="2698" y="4768"/>
                  </a:lnTo>
                  <a:lnTo>
                    <a:pt x="2638" y="4774"/>
                  </a:lnTo>
                  <a:lnTo>
                    <a:pt x="2578" y="4780"/>
                  </a:lnTo>
                  <a:lnTo>
                    <a:pt x="2516" y="4784"/>
                  </a:lnTo>
                  <a:lnTo>
                    <a:pt x="2456" y="4786"/>
                  </a:lnTo>
                  <a:lnTo>
                    <a:pt x="2394" y="4786"/>
                  </a:lnTo>
                  <a:lnTo>
                    <a:pt x="2394" y="4786"/>
                  </a:lnTo>
                  <a:lnTo>
                    <a:pt x="2332" y="4786"/>
                  </a:lnTo>
                  <a:lnTo>
                    <a:pt x="2270" y="4784"/>
                  </a:lnTo>
                  <a:lnTo>
                    <a:pt x="2210" y="4780"/>
                  </a:lnTo>
                  <a:lnTo>
                    <a:pt x="2148" y="4774"/>
                  </a:lnTo>
                  <a:lnTo>
                    <a:pt x="2088" y="4768"/>
                  </a:lnTo>
                  <a:lnTo>
                    <a:pt x="2030" y="4758"/>
                  </a:lnTo>
                  <a:lnTo>
                    <a:pt x="1970" y="4750"/>
                  </a:lnTo>
                  <a:lnTo>
                    <a:pt x="1912" y="4738"/>
                  </a:lnTo>
                  <a:lnTo>
                    <a:pt x="1854" y="4726"/>
                  </a:lnTo>
                  <a:lnTo>
                    <a:pt x="1796" y="4712"/>
                  </a:lnTo>
                  <a:lnTo>
                    <a:pt x="1738" y="4696"/>
                  </a:lnTo>
                  <a:lnTo>
                    <a:pt x="1682" y="4678"/>
                  </a:lnTo>
                  <a:lnTo>
                    <a:pt x="1626" y="4660"/>
                  </a:lnTo>
                  <a:lnTo>
                    <a:pt x="1570" y="4642"/>
                  </a:lnTo>
                  <a:lnTo>
                    <a:pt x="1516" y="4620"/>
                  </a:lnTo>
                  <a:lnTo>
                    <a:pt x="1462" y="4598"/>
                  </a:lnTo>
                  <a:lnTo>
                    <a:pt x="1408" y="4576"/>
                  </a:lnTo>
                  <a:lnTo>
                    <a:pt x="1356" y="4550"/>
                  </a:lnTo>
                  <a:lnTo>
                    <a:pt x="1304" y="4524"/>
                  </a:lnTo>
                  <a:lnTo>
                    <a:pt x="1252" y="4498"/>
                  </a:lnTo>
                  <a:lnTo>
                    <a:pt x="1202" y="4470"/>
                  </a:lnTo>
                  <a:lnTo>
                    <a:pt x="1152" y="4440"/>
                  </a:lnTo>
                  <a:lnTo>
                    <a:pt x="1104" y="4410"/>
                  </a:lnTo>
                  <a:lnTo>
                    <a:pt x="1056" y="4378"/>
                  </a:lnTo>
                  <a:lnTo>
                    <a:pt x="1008" y="4344"/>
                  </a:lnTo>
                  <a:lnTo>
                    <a:pt x="962" y="4312"/>
                  </a:lnTo>
                  <a:lnTo>
                    <a:pt x="916" y="4276"/>
                  </a:lnTo>
                  <a:lnTo>
                    <a:pt x="872" y="4240"/>
                  </a:lnTo>
                  <a:lnTo>
                    <a:pt x="828" y="4202"/>
                  </a:lnTo>
                  <a:lnTo>
                    <a:pt x="784" y="4164"/>
                  </a:lnTo>
                  <a:lnTo>
                    <a:pt x="742" y="4126"/>
                  </a:lnTo>
                  <a:lnTo>
                    <a:pt x="702" y="4086"/>
                  </a:lnTo>
                  <a:lnTo>
                    <a:pt x="662" y="4044"/>
                  </a:lnTo>
                  <a:lnTo>
                    <a:pt x="622" y="4002"/>
                  </a:lnTo>
                  <a:lnTo>
                    <a:pt x="584" y="3960"/>
                  </a:lnTo>
                  <a:lnTo>
                    <a:pt x="548" y="3916"/>
                  </a:lnTo>
                  <a:lnTo>
                    <a:pt x="512" y="3870"/>
                  </a:lnTo>
                  <a:lnTo>
                    <a:pt x="476" y="3826"/>
                  </a:lnTo>
                  <a:lnTo>
                    <a:pt x="442" y="3778"/>
                  </a:lnTo>
                  <a:lnTo>
                    <a:pt x="410" y="3732"/>
                  </a:lnTo>
                  <a:lnTo>
                    <a:pt x="378" y="3684"/>
                  </a:lnTo>
                  <a:lnTo>
                    <a:pt x="348" y="3634"/>
                  </a:lnTo>
                  <a:lnTo>
                    <a:pt x="318" y="3584"/>
                  </a:lnTo>
                  <a:lnTo>
                    <a:pt x="290" y="3534"/>
                  </a:lnTo>
                  <a:lnTo>
                    <a:pt x="262" y="3482"/>
                  </a:lnTo>
                  <a:lnTo>
                    <a:pt x="236" y="3430"/>
                  </a:lnTo>
                  <a:lnTo>
                    <a:pt x="212" y="3378"/>
                  </a:lnTo>
                  <a:lnTo>
                    <a:pt x="188" y="3324"/>
                  </a:lnTo>
                  <a:lnTo>
                    <a:pt x="166" y="3270"/>
                  </a:lnTo>
                  <a:lnTo>
                    <a:pt x="146" y="3216"/>
                  </a:lnTo>
                  <a:lnTo>
                    <a:pt x="126" y="3162"/>
                  </a:lnTo>
                  <a:lnTo>
                    <a:pt x="108" y="3106"/>
                  </a:lnTo>
                  <a:lnTo>
                    <a:pt x="92" y="3048"/>
                  </a:lnTo>
                  <a:lnTo>
                    <a:pt x="76" y="2992"/>
                  </a:lnTo>
                  <a:lnTo>
                    <a:pt x="62" y="2934"/>
                  </a:lnTo>
                  <a:lnTo>
                    <a:pt x="50" y="2876"/>
                  </a:lnTo>
                  <a:lnTo>
                    <a:pt x="38" y="2818"/>
                  </a:lnTo>
                  <a:lnTo>
                    <a:pt x="28" y="2758"/>
                  </a:lnTo>
                  <a:lnTo>
                    <a:pt x="20" y="2698"/>
                  </a:lnTo>
                  <a:lnTo>
                    <a:pt x="14" y="2638"/>
                  </a:lnTo>
                  <a:lnTo>
                    <a:pt x="8" y="2578"/>
                  </a:lnTo>
                  <a:lnTo>
                    <a:pt x="4" y="2516"/>
                  </a:lnTo>
                  <a:lnTo>
                    <a:pt x="2" y="2456"/>
                  </a:lnTo>
                  <a:lnTo>
                    <a:pt x="0" y="2394"/>
                  </a:lnTo>
                  <a:lnTo>
                    <a:pt x="0" y="2394"/>
                  </a:lnTo>
                  <a:lnTo>
                    <a:pt x="2" y="2332"/>
                  </a:lnTo>
                  <a:lnTo>
                    <a:pt x="4" y="2270"/>
                  </a:lnTo>
                  <a:lnTo>
                    <a:pt x="8" y="2210"/>
                  </a:lnTo>
                  <a:lnTo>
                    <a:pt x="14" y="2148"/>
                  </a:lnTo>
                  <a:lnTo>
                    <a:pt x="20" y="2088"/>
                  </a:lnTo>
                  <a:lnTo>
                    <a:pt x="28" y="2030"/>
                  </a:lnTo>
                  <a:lnTo>
                    <a:pt x="38" y="1970"/>
                  </a:lnTo>
                  <a:lnTo>
                    <a:pt x="50" y="1912"/>
                  </a:lnTo>
                  <a:lnTo>
                    <a:pt x="62" y="1854"/>
                  </a:lnTo>
                  <a:lnTo>
                    <a:pt x="76" y="1796"/>
                  </a:lnTo>
                  <a:lnTo>
                    <a:pt x="92" y="1738"/>
                  </a:lnTo>
                  <a:lnTo>
                    <a:pt x="108" y="1682"/>
                  </a:lnTo>
                  <a:lnTo>
                    <a:pt x="126" y="1626"/>
                  </a:lnTo>
                  <a:lnTo>
                    <a:pt x="146" y="1570"/>
                  </a:lnTo>
                  <a:lnTo>
                    <a:pt x="166" y="1516"/>
                  </a:lnTo>
                  <a:lnTo>
                    <a:pt x="188" y="1462"/>
                  </a:lnTo>
                  <a:lnTo>
                    <a:pt x="212" y="1408"/>
                  </a:lnTo>
                  <a:lnTo>
                    <a:pt x="236" y="1356"/>
                  </a:lnTo>
                  <a:lnTo>
                    <a:pt x="262" y="1304"/>
                  </a:lnTo>
                  <a:lnTo>
                    <a:pt x="290" y="1254"/>
                  </a:lnTo>
                  <a:lnTo>
                    <a:pt x="318" y="1202"/>
                  </a:lnTo>
                  <a:lnTo>
                    <a:pt x="348" y="1152"/>
                  </a:lnTo>
                  <a:lnTo>
                    <a:pt x="378" y="1104"/>
                  </a:lnTo>
                  <a:lnTo>
                    <a:pt x="410" y="1056"/>
                  </a:lnTo>
                  <a:lnTo>
                    <a:pt x="442" y="1008"/>
                  </a:lnTo>
                  <a:lnTo>
                    <a:pt x="476" y="962"/>
                  </a:lnTo>
                  <a:lnTo>
                    <a:pt x="512" y="916"/>
                  </a:lnTo>
                  <a:lnTo>
                    <a:pt x="548" y="872"/>
                  </a:lnTo>
                  <a:lnTo>
                    <a:pt x="584" y="828"/>
                  </a:lnTo>
                  <a:lnTo>
                    <a:pt x="622" y="784"/>
                  </a:lnTo>
                  <a:lnTo>
                    <a:pt x="662" y="742"/>
                  </a:lnTo>
                  <a:lnTo>
                    <a:pt x="702" y="702"/>
                  </a:lnTo>
                  <a:lnTo>
                    <a:pt x="742" y="662"/>
                  </a:lnTo>
                  <a:lnTo>
                    <a:pt x="784" y="622"/>
                  </a:lnTo>
                  <a:lnTo>
                    <a:pt x="828" y="584"/>
                  </a:lnTo>
                  <a:lnTo>
                    <a:pt x="872" y="548"/>
                  </a:lnTo>
                  <a:lnTo>
                    <a:pt x="916" y="512"/>
                  </a:lnTo>
                  <a:lnTo>
                    <a:pt x="962" y="476"/>
                  </a:lnTo>
                  <a:lnTo>
                    <a:pt x="1008" y="442"/>
                  </a:lnTo>
                  <a:lnTo>
                    <a:pt x="1056" y="410"/>
                  </a:lnTo>
                  <a:lnTo>
                    <a:pt x="1104"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2" y="108"/>
                  </a:lnTo>
                  <a:lnTo>
                    <a:pt x="1738" y="92"/>
                  </a:lnTo>
                  <a:lnTo>
                    <a:pt x="1796" y="76"/>
                  </a:lnTo>
                  <a:lnTo>
                    <a:pt x="1854" y="62"/>
                  </a:lnTo>
                  <a:lnTo>
                    <a:pt x="1912" y="50"/>
                  </a:lnTo>
                  <a:lnTo>
                    <a:pt x="1970" y="38"/>
                  </a:lnTo>
                  <a:lnTo>
                    <a:pt x="2030" y="28"/>
                  </a:lnTo>
                  <a:lnTo>
                    <a:pt x="2088" y="20"/>
                  </a:lnTo>
                  <a:lnTo>
                    <a:pt x="2148" y="14"/>
                  </a:lnTo>
                  <a:lnTo>
                    <a:pt x="2210" y="8"/>
                  </a:lnTo>
                  <a:lnTo>
                    <a:pt x="2270" y="4"/>
                  </a:lnTo>
                  <a:lnTo>
                    <a:pt x="2332" y="2"/>
                  </a:lnTo>
                  <a:lnTo>
                    <a:pt x="2394" y="0"/>
                  </a:lnTo>
                  <a:lnTo>
                    <a:pt x="2394" y="0"/>
                  </a:lnTo>
                  <a:lnTo>
                    <a:pt x="2456" y="2"/>
                  </a:lnTo>
                  <a:lnTo>
                    <a:pt x="2516" y="4"/>
                  </a:lnTo>
                  <a:lnTo>
                    <a:pt x="2578" y="8"/>
                  </a:lnTo>
                  <a:lnTo>
                    <a:pt x="2638" y="14"/>
                  </a:lnTo>
                  <a:lnTo>
                    <a:pt x="2698" y="20"/>
                  </a:lnTo>
                  <a:lnTo>
                    <a:pt x="2758" y="28"/>
                  </a:lnTo>
                  <a:lnTo>
                    <a:pt x="2818" y="38"/>
                  </a:lnTo>
                  <a:lnTo>
                    <a:pt x="2876" y="50"/>
                  </a:lnTo>
                  <a:lnTo>
                    <a:pt x="2934" y="62"/>
                  </a:lnTo>
                  <a:lnTo>
                    <a:pt x="2992" y="76"/>
                  </a:lnTo>
                  <a:lnTo>
                    <a:pt x="3048" y="92"/>
                  </a:lnTo>
                  <a:lnTo>
                    <a:pt x="3106"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4" y="378"/>
                  </a:lnTo>
                  <a:lnTo>
                    <a:pt x="3732" y="410"/>
                  </a:lnTo>
                  <a:lnTo>
                    <a:pt x="3778" y="442"/>
                  </a:lnTo>
                  <a:lnTo>
                    <a:pt x="3826" y="476"/>
                  </a:lnTo>
                  <a:lnTo>
                    <a:pt x="3870" y="512"/>
                  </a:lnTo>
                  <a:lnTo>
                    <a:pt x="3916" y="548"/>
                  </a:lnTo>
                  <a:lnTo>
                    <a:pt x="3960" y="584"/>
                  </a:lnTo>
                  <a:lnTo>
                    <a:pt x="4002" y="622"/>
                  </a:lnTo>
                  <a:lnTo>
                    <a:pt x="4044" y="662"/>
                  </a:lnTo>
                  <a:lnTo>
                    <a:pt x="4086" y="702"/>
                  </a:lnTo>
                  <a:lnTo>
                    <a:pt x="4126" y="742"/>
                  </a:lnTo>
                  <a:lnTo>
                    <a:pt x="4164" y="784"/>
                  </a:lnTo>
                  <a:lnTo>
                    <a:pt x="4202" y="828"/>
                  </a:lnTo>
                  <a:lnTo>
                    <a:pt x="4240" y="872"/>
                  </a:lnTo>
                  <a:lnTo>
                    <a:pt x="4276" y="916"/>
                  </a:lnTo>
                  <a:lnTo>
                    <a:pt x="4310" y="962"/>
                  </a:lnTo>
                  <a:lnTo>
                    <a:pt x="4344" y="1008"/>
                  </a:lnTo>
                  <a:lnTo>
                    <a:pt x="4378" y="1056"/>
                  </a:lnTo>
                  <a:lnTo>
                    <a:pt x="4410" y="1104"/>
                  </a:lnTo>
                  <a:lnTo>
                    <a:pt x="4440" y="1152"/>
                  </a:lnTo>
                  <a:lnTo>
                    <a:pt x="4470" y="1202"/>
                  </a:lnTo>
                  <a:lnTo>
                    <a:pt x="4498" y="1254"/>
                  </a:lnTo>
                  <a:lnTo>
                    <a:pt x="4524" y="1304"/>
                  </a:lnTo>
                  <a:lnTo>
                    <a:pt x="4550" y="1356"/>
                  </a:lnTo>
                  <a:lnTo>
                    <a:pt x="4574" y="1408"/>
                  </a:lnTo>
                  <a:lnTo>
                    <a:pt x="4598" y="1462"/>
                  </a:lnTo>
                  <a:lnTo>
                    <a:pt x="4620" y="1516"/>
                  </a:lnTo>
                  <a:lnTo>
                    <a:pt x="4642" y="1570"/>
                  </a:lnTo>
                  <a:lnTo>
                    <a:pt x="4660" y="1626"/>
                  </a:lnTo>
                  <a:lnTo>
                    <a:pt x="4678" y="1682"/>
                  </a:lnTo>
                  <a:lnTo>
                    <a:pt x="4696" y="1738"/>
                  </a:lnTo>
                  <a:lnTo>
                    <a:pt x="4712" y="1796"/>
                  </a:lnTo>
                  <a:lnTo>
                    <a:pt x="4726" y="1854"/>
                  </a:lnTo>
                  <a:lnTo>
                    <a:pt x="4738" y="1912"/>
                  </a:lnTo>
                  <a:lnTo>
                    <a:pt x="4748" y="1970"/>
                  </a:lnTo>
                  <a:lnTo>
                    <a:pt x="4758" y="2030"/>
                  </a:lnTo>
                  <a:lnTo>
                    <a:pt x="4768" y="2088"/>
                  </a:lnTo>
                  <a:lnTo>
                    <a:pt x="4774" y="2148"/>
                  </a:lnTo>
                  <a:lnTo>
                    <a:pt x="4780" y="2210"/>
                  </a:lnTo>
                  <a:lnTo>
                    <a:pt x="4784" y="2270"/>
                  </a:lnTo>
                  <a:lnTo>
                    <a:pt x="4786" y="2332"/>
                  </a:lnTo>
                  <a:lnTo>
                    <a:pt x="4786" y="2394"/>
                  </a:lnTo>
                  <a:lnTo>
                    <a:pt x="4786" y="2394"/>
                  </a:lnTo>
                  <a:close/>
                </a:path>
              </a:pathLst>
            </a:custGeom>
            <a:solidFill>
              <a:schemeClr val="bg1">
                <a:lumMod val="75000"/>
              </a:schemeClr>
            </a:solidFill>
            <a:ln w="9525">
              <a:noFill/>
              <a:round/>
            </a:ln>
          </p:spPr>
          <p:txBody>
            <a:bodyPr vert="horz" wrap="square" lIns="91440" tIns="45720" rIns="91440" bIns="45720" numCol="1" anchor="t" anchorCtr="0" compatLnSpc="1"/>
            <a:lstStyle/>
            <a:p>
              <a:endParaRPr lang="en-GB"/>
            </a:p>
          </p:txBody>
        </p:sp>
        <p:sp>
          <p:nvSpPr>
            <p:cNvPr id="219" name="Freeform 107"/>
            <p:cNvSpPr>
              <a:spLocks noEditPoints="1"/>
            </p:cNvSpPr>
            <p:nvPr/>
          </p:nvSpPr>
          <p:spPr bwMode="auto">
            <a:xfrm>
              <a:off x="4545134" y="26380747"/>
              <a:ext cx="4194172" cy="3641724"/>
            </a:xfrm>
            <a:custGeom>
              <a:avLst/>
              <a:gdLst/>
              <a:ahLst/>
              <a:cxnLst>
                <a:cxn ang="0">
                  <a:pos x="1816" y="186"/>
                </a:cxn>
                <a:cxn ang="0">
                  <a:pos x="1782" y="92"/>
                </a:cxn>
                <a:cxn ang="0">
                  <a:pos x="1708" y="24"/>
                </a:cxn>
                <a:cxn ang="0">
                  <a:pos x="1608" y="0"/>
                </a:cxn>
                <a:cxn ang="0">
                  <a:pos x="970" y="10"/>
                </a:cxn>
                <a:cxn ang="0">
                  <a:pos x="886" y="60"/>
                </a:cxn>
                <a:cxn ang="0">
                  <a:pos x="834" y="146"/>
                </a:cxn>
                <a:cxn ang="0">
                  <a:pos x="224" y="402"/>
                </a:cxn>
                <a:cxn ang="0">
                  <a:pos x="138" y="420"/>
                </a:cxn>
                <a:cxn ang="0">
                  <a:pos x="52" y="482"/>
                </a:cxn>
                <a:cxn ang="0">
                  <a:pos x="6" y="580"/>
                </a:cxn>
                <a:cxn ang="0">
                  <a:pos x="2" y="2094"/>
                </a:cxn>
                <a:cxn ang="0">
                  <a:pos x="38" y="2196"/>
                </a:cxn>
                <a:cxn ang="0">
                  <a:pos x="118" y="2268"/>
                </a:cxn>
                <a:cxn ang="0">
                  <a:pos x="224" y="2294"/>
                </a:cxn>
                <a:cxn ang="0">
                  <a:pos x="2484" y="2284"/>
                </a:cxn>
                <a:cxn ang="0">
                  <a:pos x="2576" y="2230"/>
                </a:cxn>
                <a:cxn ang="0">
                  <a:pos x="2630" y="2138"/>
                </a:cxn>
                <a:cxn ang="0">
                  <a:pos x="2642" y="626"/>
                </a:cxn>
                <a:cxn ang="0">
                  <a:pos x="2614" y="518"/>
                </a:cxn>
                <a:cxn ang="0">
                  <a:pos x="2542" y="440"/>
                </a:cxn>
                <a:cxn ang="0">
                  <a:pos x="2440" y="402"/>
                </a:cxn>
                <a:cxn ang="0">
                  <a:pos x="1004" y="202"/>
                </a:cxn>
                <a:cxn ang="0">
                  <a:pos x="1032" y="178"/>
                </a:cxn>
                <a:cxn ang="0">
                  <a:pos x="1630" y="188"/>
                </a:cxn>
                <a:cxn ang="0">
                  <a:pos x="1004" y="402"/>
                </a:cxn>
                <a:cxn ang="0">
                  <a:pos x="1256" y="1984"/>
                </a:cxn>
                <a:cxn ang="0">
                  <a:pos x="1102" y="1948"/>
                </a:cxn>
                <a:cxn ang="0">
                  <a:pos x="964" y="1878"/>
                </a:cxn>
                <a:cxn ang="0">
                  <a:pos x="848" y="1778"/>
                </a:cxn>
                <a:cxn ang="0">
                  <a:pos x="760" y="1652"/>
                </a:cxn>
                <a:cxn ang="0">
                  <a:pos x="702" y="1508"/>
                </a:cxn>
                <a:cxn ang="0">
                  <a:pos x="682" y="1348"/>
                </a:cxn>
                <a:cxn ang="0">
                  <a:pos x="696" y="1220"/>
                </a:cxn>
                <a:cxn ang="0">
                  <a:pos x="746" y="1072"/>
                </a:cxn>
                <a:cxn ang="0">
                  <a:pos x="828" y="942"/>
                </a:cxn>
                <a:cxn ang="0">
                  <a:pos x="938" y="836"/>
                </a:cxn>
                <a:cxn ang="0">
                  <a:pos x="1072" y="760"/>
                </a:cxn>
                <a:cxn ang="0">
                  <a:pos x="1224" y="716"/>
                </a:cxn>
                <a:cxn ang="0">
                  <a:pos x="1354" y="710"/>
                </a:cxn>
                <a:cxn ang="0">
                  <a:pos x="1510" y="738"/>
                </a:cxn>
                <a:cxn ang="0">
                  <a:pos x="1652" y="802"/>
                </a:cxn>
                <a:cxn ang="0">
                  <a:pos x="1772" y="896"/>
                </a:cxn>
                <a:cxn ang="0">
                  <a:pos x="1866" y="1018"/>
                </a:cxn>
                <a:cxn ang="0">
                  <a:pos x="1930" y="1158"/>
                </a:cxn>
                <a:cxn ang="0">
                  <a:pos x="1958" y="1316"/>
                </a:cxn>
                <a:cxn ang="0">
                  <a:pos x="1952" y="1446"/>
                </a:cxn>
                <a:cxn ang="0">
                  <a:pos x="1910" y="1596"/>
                </a:cxn>
                <a:cxn ang="0">
                  <a:pos x="1832" y="1730"/>
                </a:cxn>
                <a:cxn ang="0">
                  <a:pos x="1726" y="1840"/>
                </a:cxn>
                <a:cxn ang="0">
                  <a:pos x="1598" y="1924"/>
                </a:cxn>
                <a:cxn ang="0">
                  <a:pos x="1450" y="1974"/>
                </a:cxn>
                <a:cxn ang="0">
                  <a:pos x="1320" y="1986"/>
                </a:cxn>
              </a:cxnLst>
              <a:rect l="0" t="0" r="r" b="b"/>
              <a:pathLst>
                <a:path w="2642" h="2294">
                  <a:moveTo>
                    <a:pt x="2418" y="402"/>
                  </a:moveTo>
                  <a:lnTo>
                    <a:pt x="1818" y="402"/>
                  </a:lnTo>
                  <a:lnTo>
                    <a:pt x="1818" y="208"/>
                  </a:lnTo>
                  <a:lnTo>
                    <a:pt x="1818" y="208"/>
                  </a:lnTo>
                  <a:lnTo>
                    <a:pt x="1816" y="186"/>
                  </a:lnTo>
                  <a:lnTo>
                    <a:pt x="1814" y="166"/>
                  </a:lnTo>
                  <a:lnTo>
                    <a:pt x="1808" y="146"/>
                  </a:lnTo>
                  <a:lnTo>
                    <a:pt x="1802" y="128"/>
                  </a:lnTo>
                  <a:lnTo>
                    <a:pt x="1792" y="108"/>
                  </a:lnTo>
                  <a:lnTo>
                    <a:pt x="1782" y="92"/>
                  </a:lnTo>
                  <a:lnTo>
                    <a:pt x="1770" y="76"/>
                  </a:lnTo>
                  <a:lnTo>
                    <a:pt x="1756" y="60"/>
                  </a:lnTo>
                  <a:lnTo>
                    <a:pt x="1742" y="48"/>
                  </a:lnTo>
                  <a:lnTo>
                    <a:pt x="1726" y="36"/>
                  </a:lnTo>
                  <a:lnTo>
                    <a:pt x="1708" y="24"/>
                  </a:lnTo>
                  <a:lnTo>
                    <a:pt x="1690" y="16"/>
                  </a:lnTo>
                  <a:lnTo>
                    <a:pt x="1670" y="10"/>
                  </a:lnTo>
                  <a:lnTo>
                    <a:pt x="1650" y="4"/>
                  </a:lnTo>
                  <a:lnTo>
                    <a:pt x="1630" y="0"/>
                  </a:lnTo>
                  <a:lnTo>
                    <a:pt x="1608" y="0"/>
                  </a:lnTo>
                  <a:lnTo>
                    <a:pt x="1032" y="0"/>
                  </a:lnTo>
                  <a:lnTo>
                    <a:pt x="1032" y="0"/>
                  </a:lnTo>
                  <a:lnTo>
                    <a:pt x="1012" y="0"/>
                  </a:lnTo>
                  <a:lnTo>
                    <a:pt x="990" y="4"/>
                  </a:lnTo>
                  <a:lnTo>
                    <a:pt x="970" y="10"/>
                  </a:lnTo>
                  <a:lnTo>
                    <a:pt x="952" y="16"/>
                  </a:lnTo>
                  <a:lnTo>
                    <a:pt x="934" y="24"/>
                  </a:lnTo>
                  <a:lnTo>
                    <a:pt x="916" y="36"/>
                  </a:lnTo>
                  <a:lnTo>
                    <a:pt x="900" y="48"/>
                  </a:lnTo>
                  <a:lnTo>
                    <a:pt x="886" y="60"/>
                  </a:lnTo>
                  <a:lnTo>
                    <a:pt x="872" y="76"/>
                  </a:lnTo>
                  <a:lnTo>
                    <a:pt x="860" y="92"/>
                  </a:lnTo>
                  <a:lnTo>
                    <a:pt x="850" y="108"/>
                  </a:lnTo>
                  <a:lnTo>
                    <a:pt x="840" y="128"/>
                  </a:lnTo>
                  <a:lnTo>
                    <a:pt x="834" y="146"/>
                  </a:lnTo>
                  <a:lnTo>
                    <a:pt x="828" y="166"/>
                  </a:lnTo>
                  <a:lnTo>
                    <a:pt x="826" y="186"/>
                  </a:lnTo>
                  <a:lnTo>
                    <a:pt x="824" y="208"/>
                  </a:lnTo>
                  <a:lnTo>
                    <a:pt x="824" y="402"/>
                  </a:lnTo>
                  <a:lnTo>
                    <a:pt x="224" y="402"/>
                  </a:lnTo>
                  <a:lnTo>
                    <a:pt x="224" y="402"/>
                  </a:lnTo>
                  <a:lnTo>
                    <a:pt x="202" y="402"/>
                  </a:lnTo>
                  <a:lnTo>
                    <a:pt x="180" y="406"/>
                  </a:lnTo>
                  <a:lnTo>
                    <a:pt x="158" y="412"/>
                  </a:lnTo>
                  <a:lnTo>
                    <a:pt x="138" y="420"/>
                  </a:lnTo>
                  <a:lnTo>
                    <a:pt x="118" y="428"/>
                  </a:lnTo>
                  <a:lnTo>
                    <a:pt x="100" y="440"/>
                  </a:lnTo>
                  <a:lnTo>
                    <a:pt x="82" y="452"/>
                  </a:lnTo>
                  <a:lnTo>
                    <a:pt x="66" y="468"/>
                  </a:lnTo>
                  <a:lnTo>
                    <a:pt x="52" y="482"/>
                  </a:lnTo>
                  <a:lnTo>
                    <a:pt x="38" y="500"/>
                  </a:lnTo>
                  <a:lnTo>
                    <a:pt x="28" y="518"/>
                  </a:lnTo>
                  <a:lnTo>
                    <a:pt x="18" y="538"/>
                  </a:lnTo>
                  <a:lnTo>
                    <a:pt x="10" y="558"/>
                  </a:lnTo>
                  <a:lnTo>
                    <a:pt x="6" y="580"/>
                  </a:lnTo>
                  <a:lnTo>
                    <a:pt x="2" y="602"/>
                  </a:lnTo>
                  <a:lnTo>
                    <a:pt x="0" y="626"/>
                  </a:lnTo>
                  <a:lnTo>
                    <a:pt x="0" y="2070"/>
                  </a:lnTo>
                  <a:lnTo>
                    <a:pt x="0" y="2070"/>
                  </a:lnTo>
                  <a:lnTo>
                    <a:pt x="2" y="2094"/>
                  </a:lnTo>
                  <a:lnTo>
                    <a:pt x="6" y="2116"/>
                  </a:lnTo>
                  <a:lnTo>
                    <a:pt x="10" y="2138"/>
                  </a:lnTo>
                  <a:lnTo>
                    <a:pt x="18" y="2158"/>
                  </a:lnTo>
                  <a:lnTo>
                    <a:pt x="28" y="2178"/>
                  </a:lnTo>
                  <a:lnTo>
                    <a:pt x="38" y="2196"/>
                  </a:lnTo>
                  <a:lnTo>
                    <a:pt x="52" y="2214"/>
                  </a:lnTo>
                  <a:lnTo>
                    <a:pt x="66" y="2230"/>
                  </a:lnTo>
                  <a:lnTo>
                    <a:pt x="82" y="2244"/>
                  </a:lnTo>
                  <a:lnTo>
                    <a:pt x="100" y="2256"/>
                  </a:lnTo>
                  <a:lnTo>
                    <a:pt x="118" y="2268"/>
                  </a:lnTo>
                  <a:lnTo>
                    <a:pt x="138" y="2278"/>
                  </a:lnTo>
                  <a:lnTo>
                    <a:pt x="158" y="2284"/>
                  </a:lnTo>
                  <a:lnTo>
                    <a:pt x="180" y="2290"/>
                  </a:lnTo>
                  <a:lnTo>
                    <a:pt x="202" y="2294"/>
                  </a:lnTo>
                  <a:lnTo>
                    <a:pt x="224" y="2294"/>
                  </a:lnTo>
                  <a:lnTo>
                    <a:pt x="2418" y="2294"/>
                  </a:lnTo>
                  <a:lnTo>
                    <a:pt x="2418" y="2294"/>
                  </a:lnTo>
                  <a:lnTo>
                    <a:pt x="2440" y="2294"/>
                  </a:lnTo>
                  <a:lnTo>
                    <a:pt x="2462" y="2290"/>
                  </a:lnTo>
                  <a:lnTo>
                    <a:pt x="2484" y="2284"/>
                  </a:lnTo>
                  <a:lnTo>
                    <a:pt x="2504" y="2278"/>
                  </a:lnTo>
                  <a:lnTo>
                    <a:pt x="2524" y="2268"/>
                  </a:lnTo>
                  <a:lnTo>
                    <a:pt x="2542" y="2256"/>
                  </a:lnTo>
                  <a:lnTo>
                    <a:pt x="2560" y="2244"/>
                  </a:lnTo>
                  <a:lnTo>
                    <a:pt x="2576" y="2230"/>
                  </a:lnTo>
                  <a:lnTo>
                    <a:pt x="2590" y="2214"/>
                  </a:lnTo>
                  <a:lnTo>
                    <a:pt x="2602" y="2196"/>
                  </a:lnTo>
                  <a:lnTo>
                    <a:pt x="2614" y="2178"/>
                  </a:lnTo>
                  <a:lnTo>
                    <a:pt x="2624" y="2158"/>
                  </a:lnTo>
                  <a:lnTo>
                    <a:pt x="2630" y="2138"/>
                  </a:lnTo>
                  <a:lnTo>
                    <a:pt x="2636" y="2116"/>
                  </a:lnTo>
                  <a:lnTo>
                    <a:pt x="2640" y="2094"/>
                  </a:lnTo>
                  <a:lnTo>
                    <a:pt x="2642" y="2070"/>
                  </a:lnTo>
                  <a:lnTo>
                    <a:pt x="2642" y="626"/>
                  </a:lnTo>
                  <a:lnTo>
                    <a:pt x="2642" y="626"/>
                  </a:lnTo>
                  <a:lnTo>
                    <a:pt x="2640" y="602"/>
                  </a:lnTo>
                  <a:lnTo>
                    <a:pt x="2636" y="580"/>
                  </a:lnTo>
                  <a:lnTo>
                    <a:pt x="2630" y="558"/>
                  </a:lnTo>
                  <a:lnTo>
                    <a:pt x="2624" y="538"/>
                  </a:lnTo>
                  <a:lnTo>
                    <a:pt x="2614" y="518"/>
                  </a:lnTo>
                  <a:lnTo>
                    <a:pt x="2602" y="500"/>
                  </a:lnTo>
                  <a:lnTo>
                    <a:pt x="2590" y="482"/>
                  </a:lnTo>
                  <a:lnTo>
                    <a:pt x="2576" y="468"/>
                  </a:lnTo>
                  <a:lnTo>
                    <a:pt x="2560" y="452"/>
                  </a:lnTo>
                  <a:lnTo>
                    <a:pt x="2542" y="440"/>
                  </a:lnTo>
                  <a:lnTo>
                    <a:pt x="2524" y="428"/>
                  </a:lnTo>
                  <a:lnTo>
                    <a:pt x="2504" y="420"/>
                  </a:lnTo>
                  <a:lnTo>
                    <a:pt x="2484" y="412"/>
                  </a:lnTo>
                  <a:lnTo>
                    <a:pt x="2462" y="406"/>
                  </a:lnTo>
                  <a:lnTo>
                    <a:pt x="2440" y="402"/>
                  </a:lnTo>
                  <a:lnTo>
                    <a:pt x="2418" y="402"/>
                  </a:lnTo>
                  <a:lnTo>
                    <a:pt x="2418" y="402"/>
                  </a:lnTo>
                  <a:close/>
                  <a:moveTo>
                    <a:pt x="1004" y="208"/>
                  </a:moveTo>
                  <a:lnTo>
                    <a:pt x="1004" y="208"/>
                  </a:lnTo>
                  <a:lnTo>
                    <a:pt x="1004" y="202"/>
                  </a:lnTo>
                  <a:lnTo>
                    <a:pt x="1006" y="196"/>
                  </a:lnTo>
                  <a:lnTo>
                    <a:pt x="1012" y="188"/>
                  </a:lnTo>
                  <a:lnTo>
                    <a:pt x="1022" y="182"/>
                  </a:lnTo>
                  <a:lnTo>
                    <a:pt x="1026" y="180"/>
                  </a:lnTo>
                  <a:lnTo>
                    <a:pt x="1032" y="178"/>
                  </a:lnTo>
                  <a:lnTo>
                    <a:pt x="1608" y="178"/>
                  </a:lnTo>
                  <a:lnTo>
                    <a:pt x="1608" y="178"/>
                  </a:lnTo>
                  <a:lnTo>
                    <a:pt x="1614" y="180"/>
                  </a:lnTo>
                  <a:lnTo>
                    <a:pt x="1620" y="182"/>
                  </a:lnTo>
                  <a:lnTo>
                    <a:pt x="1630" y="188"/>
                  </a:lnTo>
                  <a:lnTo>
                    <a:pt x="1636" y="196"/>
                  </a:lnTo>
                  <a:lnTo>
                    <a:pt x="1638" y="202"/>
                  </a:lnTo>
                  <a:lnTo>
                    <a:pt x="1638" y="208"/>
                  </a:lnTo>
                  <a:lnTo>
                    <a:pt x="1638" y="402"/>
                  </a:lnTo>
                  <a:lnTo>
                    <a:pt x="1004" y="402"/>
                  </a:lnTo>
                  <a:lnTo>
                    <a:pt x="1004" y="208"/>
                  </a:lnTo>
                  <a:close/>
                  <a:moveTo>
                    <a:pt x="1320" y="1986"/>
                  </a:moveTo>
                  <a:lnTo>
                    <a:pt x="1320" y="1986"/>
                  </a:lnTo>
                  <a:lnTo>
                    <a:pt x="1288" y="1986"/>
                  </a:lnTo>
                  <a:lnTo>
                    <a:pt x="1256" y="1984"/>
                  </a:lnTo>
                  <a:lnTo>
                    <a:pt x="1224" y="1980"/>
                  </a:lnTo>
                  <a:lnTo>
                    <a:pt x="1192" y="1974"/>
                  </a:lnTo>
                  <a:lnTo>
                    <a:pt x="1162" y="1966"/>
                  </a:lnTo>
                  <a:lnTo>
                    <a:pt x="1130" y="1958"/>
                  </a:lnTo>
                  <a:lnTo>
                    <a:pt x="1102" y="1948"/>
                  </a:lnTo>
                  <a:lnTo>
                    <a:pt x="1072" y="1936"/>
                  </a:lnTo>
                  <a:lnTo>
                    <a:pt x="1044" y="1924"/>
                  </a:lnTo>
                  <a:lnTo>
                    <a:pt x="1016" y="1910"/>
                  </a:lnTo>
                  <a:lnTo>
                    <a:pt x="990" y="1894"/>
                  </a:lnTo>
                  <a:lnTo>
                    <a:pt x="964" y="1878"/>
                  </a:lnTo>
                  <a:lnTo>
                    <a:pt x="938" y="1860"/>
                  </a:lnTo>
                  <a:lnTo>
                    <a:pt x="914" y="1840"/>
                  </a:lnTo>
                  <a:lnTo>
                    <a:pt x="892" y="1820"/>
                  </a:lnTo>
                  <a:lnTo>
                    <a:pt x="870" y="1800"/>
                  </a:lnTo>
                  <a:lnTo>
                    <a:pt x="848" y="1778"/>
                  </a:lnTo>
                  <a:lnTo>
                    <a:pt x="828" y="1754"/>
                  </a:lnTo>
                  <a:lnTo>
                    <a:pt x="810" y="1730"/>
                  </a:lnTo>
                  <a:lnTo>
                    <a:pt x="792" y="1706"/>
                  </a:lnTo>
                  <a:lnTo>
                    <a:pt x="774" y="1680"/>
                  </a:lnTo>
                  <a:lnTo>
                    <a:pt x="760" y="1652"/>
                  </a:lnTo>
                  <a:lnTo>
                    <a:pt x="746" y="1624"/>
                  </a:lnTo>
                  <a:lnTo>
                    <a:pt x="732" y="1596"/>
                  </a:lnTo>
                  <a:lnTo>
                    <a:pt x="722" y="1568"/>
                  </a:lnTo>
                  <a:lnTo>
                    <a:pt x="712" y="1538"/>
                  </a:lnTo>
                  <a:lnTo>
                    <a:pt x="702" y="1508"/>
                  </a:lnTo>
                  <a:lnTo>
                    <a:pt x="696" y="1476"/>
                  </a:lnTo>
                  <a:lnTo>
                    <a:pt x="690" y="1446"/>
                  </a:lnTo>
                  <a:lnTo>
                    <a:pt x="686" y="1414"/>
                  </a:lnTo>
                  <a:lnTo>
                    <a:pt x="684" y="1380"/>
                  </a:lnTo>
                  <a:lnTo>
                    <a:pt x="682" y="1348"/>
                  </a:lnTo>
                  <a:lnTo>
                    <a:pt x="682" y="1348"/>
                  </a:lnTo>
                  <a:lnTo>
                    <a:pt x="684" y="1316"/>
                  </a:lnTo>
                  <a:lnTo>
                    <a:pt x="686" y="1282"/>
                  </a:lnTo>
                  <a:lnTo>
                    <a:pt x="690" y="1250"/>
                  </a:lnTo>
                  <a:lnTo>
                    <a:pt x="696" y="1220"/>
                  </a:lnTo>
                  <a:lnTo>
                    <a:pt x="702" y="1188"/>
                  </a:lnTo>
                  <a:lnTo>
                    <a:pt x="712" y="1158"/>
                  </a:lnTo>
                  <a:lnTo>
                    <a:pt x="722" y="1128"/>
                  </a:lnTo>
                  <a:lnTo>
                    <a:pt x="732" y="1100"/>
                  </a:lnTo>
                  <a:lnTo>
                    <a:pt x="746" y="1072"/>
                  </a:lnTo>
                  <a:lnTo>
                    <a:pt x="760" y="1044"/>
                  </a:lnTo>
                  <a:lnTo>
                    <a:pt x="774" y="1018"/>
                  </a:lnTo>
                  <a:lnTo>
                    <a:pt x="792" y="992"/>
                  </a:lnTo>
                  <a:lnTo>
                    <a:pt x="810" y="966"/>
                  </a:lnTo>
                  <a:lnTo>
                    <a:pt x="828" y="942"/>
                  </a:lnTo>
                  <a:lnTo>
                    <a:pt x="848" y="918"/>
                  </a:lnTo>
                  <a:lnTo>
                    <a:pt x="870" y="896"/>
                  </a:lnTo>
                  <a:lnTo>
                    <a:pt x="892" y="876"/>
                  </a:lnTo>
                  <a:lnTo>
                    <a:pt x="914" y="856"/>
                  </a:lnTo>
                  <a:lnTo>
                    <a:pt x="938" y="836"/>
                  </a:lnTo>
                  <a:lnTo>
                    <a:pt x="964" y="818"/>
                  </a:lnTo>
                  <a:lnTo>
                    <a:pt x="990" y="802"/>
                  </a:lnTo>
                  <a:lnTo>
                    <a:pt x="1016" y="786"/>
                  </a:lnTo>
                  <a:lnTo>
                    <a:pt x="1044" y="772"/>
                  </a:lnTo>
                  <a:lnTo>
                    <a:pt x="1072" y="760"/>
                  </a:lnTo>
                  <a:lnTo>
                    <a:pt x="1102" y="748"/>
                  </a:lnTo>
                  <a:lnTo>
                    <a:pt x="1130" y="738"/>
                  </a:lnTo>
                  <a:lnTo>
                    <a:pt x="1162" y="730"/>
                  </a:lnTo>
                  <a:lnTo>
                    <a:pt x="1192" y="722"/>
                  </a:lnTo>
                  <a:lnTo>
                    <a:pt x="1224" y="716"/>
                  </a:lnTo>
                  <a:lnTo>
                    <a:pt x="1256" y="712"/>
                  </a:lnTo>
                  <a:lnTo>
                    <a:pt x="1288" y="710"/>
                  </a:lnTo>
                  <a:lnTo>
                    <a:pt x="1320" y="710"/>
                  </a:lnTo>
                  <a:lnTo>
                    <a:pt x="1320" y="710"/>
                  </a:lnTo>
                  <a:lnTo>
                    <a:pt x="1354" y="710"/>
                  </a:lnTo>
                  <a:lnTo>
                    <a:pt x="1386" y="712"/>
                  </a:lnTo>
                  <a:lnTo>
                    <a:pt x="1418" y="716"/>
                  </a:lnTo>
                  <a:lnTo>
                    <a:pt x="1450" y="722"/>
                  </a:lnTo>
                  <a:lnTo>
                    <a:pt x="1480" y="730"/>
                  </a:lnTo>
                  <a:lnTo>
                    <a:pt x="1510" y="738"/>
                  </a:lnTo>
                  <a:lnTo>
                    <a:pt x="1540" y="748"/>
                  </a:lnTo>
                  <a:lnTo>
                    <a:pt x="1570" y="760"/>
                  </a:lnTo>
                  <a:lnTo>
                    <a:pt x="1598" y="772"/>
                  </a:lnTo>
                  <a:lnTo>
                    <a:pt x="1626" y="786"/>
                  </a:lnTo>
                  <a:lnTo>
                    <a:pt x="1652" y="802"/>
                  </a:lnTo>
                  <a:lnTo>
                    <a:pt x="1678" y="818"/>
                  </a:lnTo>
                  <a:lnTo>
                    <a:pt x="1702" y="836"/>
                  </a:lnTo>
                  <a:lnTo>
                    <a:pt x="1726" y="856"/>
                  </a:lnTo>
                  <a:lnTo>
                    <a:pt x="1750" y="876"/>
                  </a:lnTo>
                  <a:lnTo>
                    <a:pt x="1772" y="896"/>
                  </a:lnTo>
                  <a:lnTo>
                    <a:pt x="1794" y="918"/>
                  </a:lnTo>
                  <a:lnTo>
                    <a:pt x="1814" y="942"/>
                  </a:lnTo>
                  <a:lnTo>
                    <a:pt x="1832" y="966"/>
                  </a:lnTo>
                  <a:lnTo>
                    <a:pt x="1850" y="992"/>
                  </a:lnTo>
                  <a:lnTo>
                    <a:pt x="1866" y="1018"/>
                  </a:lnTo>
                  <a:lnTo>
                    <a:pt x="1882" y="1044"/>
                  </a:lnTo>
                  <a:lnTo>
                    <a:pt x="1896" y="1072"/>
                  </a:lnTo>
                  <a:lnTo>
                    <a:pt x="1910" y="1100"/>
                  </a:lnTo>
                  <a:lnTo>
                    <a:pt x="1920" y="1128"/>
                  </a:lnTo>
                  <a:lnTo>
                    <a:pt x="1930" y="1158"/>
                  </a:lnTo>
                  <a:lnTo>
                    <a:pt x="1940" y="1188"/>
                  </a:lnTo>
                  <a:lnTo>
                    <a:pt x="1946" y="1220"/>
                  </a:lnTo>
                  <a:lnTo>
                    <a:pt x="1952" y="1250"/>
                  </a:lnTo>
                  <a:lnTo>
                    <a:pt x="1956" y="1282"/>
                  </a:lnTo>
                  <a:lnTo>
                    <a:pt x="1958" y="1316"/>
                  </a:lnTo>
                  <a:lnTo>
                    <a:pt x="1960" y="1348"/>
                  </a:lnTo>
                  <a:lnTo>
                    <a:pt x="1960" y="1348"/>
                  </a:lnTo>
                  <a:lnTo>
                    <a:pt x="1958" y="1380"/>
                  </a:lnTo>
                  <a:lnTo>
                    <a:pt x="1956" y="1414"/>
                  </a:lnTo>
                  <a:lnTo>
                    <a:pt x="1952" y="1446"/>
                  </a:lnTo>
                  <a:lnTo>
                    <a:pt x="1946" y="1476"/>
                  </a:lnTo>
                  <a:lnTo>
                    <a:pt x="1940" y="1508"/>
                  </a:lnTo>
                  <a:lnTo>
                    <a:pt x="1930" y="1538"/>
                  </a:lnTo>
                  <a:lnTo>
                    <a:pt x="1920" y="1568"/>
                  </a:lnTo>
                  <a:lnTo>
                    <a:pt x="1910" y="1596"/>
                  </a:lnTo>
                  <a:lnTo>
                    <a:pt x="1896" y="1624"/>
                  </a:lnTo>
                  <a:lnTo>
                    <a:pt x="1882" y="1652"/>
                  </a:lnTo>
                  <a:lnTo>
                    <a:pt x="1866" y="1680"/>
                  </a:lnTo>
                  <a:lnTo>
                    <a:pt x="1850" y="1706"/>
                  </a:lnTo>
                  <a:lnTo>
                    <a:pt x="1832" y="1730"/>
                  </a:lnTo>
                  <a:lnTo>
                    <a:pt x="1814" y="1754"/>
                  </a:lnTo>
                  <a:lnTo>
                    <a:pt x="1794" y="1778"/>
                  </a:lnTo>
                  <a:lnTo>
                    <a:pt x="1772" y="1800"/>
                  </a:lnTo>
                  <a:lnTo>
                    <a:pt x="1750" y="1820"/>
                  </a:lnTo>
                  <a:lnTo>
                    <a:pt x="1726" y="1840"/>
                  </a:lnTo>
                  <a:lnTo>
                    <a:pt x="1702" y="1860"/>
                  </a:lnTo>
                  <a:lnTo>
                    <a:pt x="1678" y="1878"/>
                  </a:lnTo>
                  <a:lnTo>
                    <a:pt x="1652" y="1894"/>
                  </a:lnTo>
                  <a:lnTo>
                    <a:pt x="1626" y="1910"/>
                  </a:lnTo>
                  <a:lnTo>
                    <a:pt x="1598" y="1924"/>
                  </a:lnTo>
                  <a:lnTo>
                    <a:pt x="1570" y="1936"/>
                  </a:lnTo>
                  <a:lnTo>
                    <a:pt x="1540" y="1948"/>
                  </a:lnTo>
                  <a:lnTo>
                    <a:pt x="1510" y="1958"/>
                  </a:lnTo>
                  <a:lnTo>
                    <a:pt x="1480" y="1966"/>
                  </a:lnTo>
                  <a:lnTo>
                    <a:pt x="1450" y="1974"/>
                  </a:lnTo>
                  <a:lnTo>
                    <a:pt x="1418" y="1980"/>
                  </a:lnTo>
                  <a:lnTo>
                    <a:pt x="1386" y="1984"/>
                  </a:lnTo>
                  <a:lnTo>
                    <a:pt x="1354" y="1986"/>
                  </a:lnTo>
                  <a:lnTo>
                    <a:pt x="1320" y="1986"/>
                  </a:lnTo>
                  <a:lnTo>
                    <a:pt x="1320" y="1986"/>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220" name="Freeform 108"/>
            <p:cNvSpPr/>
            <p:nvPr/>
          </p:nvSpPr>
          <p:spPr bwMode="auto">
            <a:xfrm>
              <a:off x="6053138" y="27795538"/>
              <a:ext cx="1435100" cy="1435100"/>
            </a:xfrm>
            <a:custGeom>
              <a:avLst/>
              <a:gdLst/>
              <a:ahLst/>
              <a:cxnLst>
                <a:cxn ang="0">
                  <a:pos x="612" y="0"/>
                </a:cxn>
                <a:cxn ang="0">
                  <a:pos x="294" y="0"/>
                </a:cxn>
                <a:cxn ang="0">
                  <a:pos x="294" y="294"/>
                </a:cxn>
                <a:cxn ang="0">
                  <a:pos x="0" y="294"/>
                </a:cxn>
                <a:cxn ang="0">
                  <a:pos x="0" y="610"/>
                </a:cxn>
                <a:cxn ang="0">
                  <a:pos x="294" y="610"/>
                </a:cxn>
                <a:cxn ang="0">
                  <a:pos x="294" y="904"/>
                </a:cxn>
                <a:cxn ang="0">
                  <a:pos x="612" y="904"/>
                </a:cxn>
                <a:cxn ang="0">
                  <a:pos x="612" y="610"/>
                </a:cxn>
                <a:cxn ang="0">
                  <a:pos x="904" y="610"/>
                </a:cxn>
                <a:cxn ang="0">
                  <a:pos x="904" y="294"/>
                </a:cxn>
                <a:cxn ang="0">
                  <a:pos x="612" y="294"/>
                </a:cxn>
                <a:cxn ang="0">
                  <a:pos x="612" y="0"/>
                </a:cxn>
              </a:cxnLst>
              <a:rect l="0" t="0" r="r" b="b"/>
              <a:pathLst>
                <a:path w="904" h="904">
                  <a:moveTo>
                    <a:pt x="612" y="0"/>
                  </a:moveTo>
                  <a:lnTo>
                    <a:pt x="294" y="0"/>
                  </a:lnTo>
                  <a:lnTo>
                    <a:pt x="294" y="294"/>
                  </a:lnTo>
                  <a:lnTo>
                    <a:pt x="0" y="294"/>
                  </a:lnTo>
                  <a:lnTo>
                    <a:pt x="0" y="610"/>
                  </a:lnTo>
                  <a:lnTo>
                    <a:pt x="294" y="610"/>
                  </a:lnTo>
                  <a:lnTo>
                    <a:pt x="294" y="904"/>
                  </a:lnTo>
                  <a:lnTo>
                    <a:pt x="612" y="904"/>
                  </a:lnTo>
                  <a:lnTo>
                    <a:pt x="612" y="610"/>
                  </a:lnTo>
                  <a:lnTo>
                    <a:pt x="904" y="610"/>
                  </a:lnTo>
                  <a:lnTo>
                    <a:pt x="904" y="294"/>
                  </a:lnTo>
                  <a:lnTo>
                    <a:pt x="612" y="294"/>
                  </a:lnTo>
                  <a:lnTo>
                    <a:pt x="612"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grpSp>
      <p:sp>
        <p:nvSpPr>
          <p:cNvPr id="46" name="Text Placeholder 5"/>
          <p:cNvSpPr txBox="1"/>
          <p:nvPr/>
        </p:nvSpPr>
        <p:spPr>
          <a:xfrm>
            <a:off x="1038225" y="931742"/>
            <a:ext cx="10853738" cy="263075"/>
          </a:xfrm>
          <a:prstGeom prst="rect">
            <a:avLst/>
          </a:prstGeom>
        </p:spPr>
        <p:txBody>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en-US" altLang="zh-CN" sz="1800" dirty="0">
                <a:solidFill>
                  <a:srgbClr val="1A1918"/>
                </a:solidFill>
                <a:latin typeface="微软雅黑" panose="020B0503020204020204" pitchFamily="34" charset="-122"/>
                <a:ea typeface="微软雅黑" panose="020B0503020204020204" pitchFamily="34" charset="-122"/>
              </a:rPr>
              <a:t>——</a:t>
            </a:r>
            <a:endParaRPr lang="en-US" sz="1800" dirty="0">
              <a:solidFill>
                <a:srgbClr val="1A1918"/>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4"/>
          </p:nvPr>
        </p:nvSpPr>
        <p:spPr/>
        <p:txBody>
          <a:bodyPr/>
          <a:lstStyle/>
          <a:p>
            <a:pPr defTabSz="1218565"/>
            <a:r>
              <a:rPr lang="en-US" altLang="ja-JP" dirty="0"/>
              <a:t>9</a:t>
            </a:r>
            <a:endParaRPr lang="ja-JP" altLang="en-US" dirty="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6"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p:txBody>
          <a:bodyPr>
            <a:normAutofit/>
          </a:bodyPr>
          <a:lstStyle/>
          <a:p>
            <a:r>
              <a:rPr lang="zh-CN" altLang="en-US" sz="3200">
                <a:latin typeface="微软雅黑" panose="020B0503020204020204" pitchFamily="34" charset="-122"/>
                <a:ea typeface="微软雅黑" panose="020B0503020204020204" pitchFamily="34" charset="-122"/>
              </a:rPr>
              <a:t>目录</a:t>
            </a:r>
            <a:endParaRPr lang="en-US" sz="3200">
              <a:latin typeface="微软雅黑" panose="020B0503020204020204" pitchFamily="34" charset="-122"/>
              <a:ea typeface="微软雅黑" panose="020B0503020204020204" pitchFamily="34" charset="-122"/>
            </a:endParaRPr>
          </a:p>
        </p:txBody>
      </p:sp>
      <p:sp>
        <p:nvSpPr>
          <p:cNvPr id="5" name="Rectangle 8"/>
          <p:cNvSpPr/>
          <p:nvPr/>
        </p:nvSpPr>
        <p:spPr>
          <a:xfrm>
            <a:off x="1803465" y="1725673"/>
            <a:ext cx="680983" cy="685801"/>
          </a:xfrm>
          <a:prstGeom prst="rect">
            <a:avLst/>
          </a:prstGeom>
          <a:solidFill>
            <a:schemeClr val="accent1"/>
          </a:solidFill>
          <a:ln>
            <a:solidFill>
              <a:schemeClr val="accent5">
                <a:lumMod val="60000"/>
                <a:lumOff val="40000"/>
              </a:schemeClr>
            </a:solidFill>
          </a:ln>
        </p:spPr>
        <p:style>
          <a:lnRef idx="2">
            <a:schemeClr val="accent1"/>
          </a:lnRef>
          <a:fillRef idx="1">
            <a:schemeClr val="lt1"/>
          </a:fillRef>
          <a:effectRef idx="0">
            <a:schemeClr val="accent1"/>
          </a:effectRef>
          <a:fontRef idx="minor">
            <a:schemeClr val="dk1"/>
          </a:fontRef>
        </p:style>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1</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6" name="Rectangle 8"/>
          <p:cNvSpPr/>
          <p:nvPr/>
        </p:nvSpPr>
        <p:spPr>
          <a:xfrm>
            <a:off x="2564686" y="1725673"/>
            <a:ext cx="2808505" cy="685801"/>
          </a:xfrm>
          <a:prstGeom prst="rect">
            <a:avLst/>
          </a:prstGeom>
          <a:solidFill>
            <a:schemeClr val="accent5">
              <a:lumMod val="60000"/>
              <a:lumOff val="40000"/>
            </a:schemeClr>
          </a:solidFill>
          <a:ln>
            <a:solidFill>
              <a:srgbClr val="B4C7E7"/>
            </a:solidFill>
          </a:ln>
        </p:spPr>
        <p:style>
          <a:lnRef idx="2">
            <a:schemeClr val="accent5"/>
          </a:lnRef>
          <a:fillRef idx="1">
            <a:schemeClr val="lt1"/>
          </a:fillRef>
          <a:effectRef idx="0">
            <a:schemeClr val="accent5"/>
          </a:effectRef>
          <a:fontRef idx="minor">
            <a:schemeClr val="dk1"/>
          </a:fontRef>
        </p:style>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药品基本信息</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7" name="Rectangle 8"/>
          <p:cNvSpPr/>
          <p:nvPr/>
        </p:nvSpPr>
        <p:spPr>
          <a:xfrm>
            <a:off x="1803465" y="2864776"/>
            <a:ext cx="680983" cy="685801"/>
          </a:xfrm>
          <a:prstGeom prst="rect">
            <a:avLst/>
          </a:prstGeom>
          <a:solidFill>
            <a:schemeClr val="accent1"/>
          </a:solidFill>
          <a:ln w="25400" cap="flat" cmpd="sng" algn="ctr">
            <a:solidFill>
              <a:schemeClr val="accent5">
                <a:lumMod val="60000"/>
                <a:lumOff val="40000"/>
              </a:schemeClr>
            </a:solidFill>
            <a:prstDash val="solid"/>
          </a:ln>
          <a:effectLst>
            <a:outerShdw blurRad="50800" dist="38100" dir="2700000" algn="tl" rotWithShape="0">
              <a:prstClr val="black">
                <a:alpha val="40000"/>
              </a:prstClr>
            </a:outerShdw>
          </a:effectLst>
        </p:spPr>
        <p:txBody>
          <a:bodyPr tIns="90000" bIns="90000" rtlCol="0" anchor="ctr"/>
          <a:lstStyle/>
          <a:p>
            <a:pPr algn="ctr"/>
            <a:r>
              <a:rPr lang="en-US" b="1" kern="0" dirty="0">
                <a:solidFill>
                  <a:srgbClr val="FFFFFF"/>
                </a:solidFill>
                <a:latin typeface="微软雅黑" panose="020B0503020204020204" pitchFamily="34" charset="-122"/>
                <a:ea typeface="微软雅黑" panose="020B0503020204020204" pitchFamily="34" charset="-122"/>
              </a:rPr>
              <a:t>2</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8" name="Rectangle 8"/>
          <p:cNvSpPr/>
          <p:nvPr/>
        </p:nvSpPr>
        <p:spPr>
          <a:xfrm>
            <a:off x="2564686" y="2864776"/>
            <a:ext cx="2808505" cy="685801"/>
          </a:xfrm>
          <a:prstGeom prst="rect">
            <a:avLst/>
          </a:prstGeom>
          <a:solidFill>
            <a:schemeClr val="accent5">
              <a:lumMod val="60000"/>
              <a:lumOff val="40000"/>
            </a:schemeClr>
          </a:solidFill>
          <a:ln w="25400" cap="flat" cmpd="sng" algn="ctr">
            <a:solidFill>
              <a:srgbClr val="B4C7E7"/>
            </a:solid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安全</a:t>
            </a:r>
            <a:r>
              <a:rPr kumimoji="1" lang="zh-CN" altLang="en-US" sz="1800" b="1" dirty="0">
                <a:solidFill>
                  <a:schemeClr val="bg1"/>
                </a:solidFill>
                <a:latin typeface="微软雅黑" panose="020B0503020204020204" pitchFamily="34" charset="-122"/>
                <a:ea typeface="微软雅黑" panose="020B0503020204020204" pitchFamily="34" charset="-122"/>
              </a:rPr>
              <a:t>性</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9" name="Rectangle 8"/>
          <p:cNvSpPr/>
          <p:nvPr/>
        </p:nvSpPr>
        <p:spPr>
          <a:xfrm>
            <a:off x="1803465" y="4003878"/>
            <a:ext cx="680983" cy="685801"/>
          </a:xfrm>
          <a:prstGeom prst="rect">
            <a:avLst/>
          </a:prstGeom>
          <a:solidFill>
            <a:schemeClr val="accent1"/>
          </a:solidFill>
          <a:ln w="25400" cap="flat" cmpd="sng" algn="ctr">
            <a:solidFill>
              <a:schemeClr val="accent5">
                <a:lumMod val="60000"/>
                <a:lumOff val="40000"/>
              </a:schemeClr>
            </a:solid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3</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0" name="Rectangle 8"/>
          <p:cNvSpPr/>
          <p:nvPr/>
        </p:nvSpPr>
        <p:spPr>
          <a:xfrm>
            <a:off x="2564686" y="4003878"/>
            <a:ext cx="2808505" cy="685801"/>
          </a:xfrm>
          <a:prstGeom prst="rect">
            <a:avLst/>
          </a:prstGeom>
          <a:solidFill>
            <a:schemeClr val="accent5">
              <a:lumMod val="60000"/>
              <a:lumOff val="40000"/>
            </a:schemeClr>
          </a:solidFill>
          <a:ln w="25400" cap="flat" cmpd="sng" algn="ctr">
            <a:solidFill>
              <a:srgbClr val="B4C7E7"/>
            </a:solid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有效性</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13" name="Rectangle 8"/>
          <p:cNvSpPr/>
          <p:nvPr/>
        </p:nvSpPr>
        <p:spPr>
          <a:xfrm>
            <a:off x="6827516" y="1725673"/>
            <a:ext cx="680983" cy="685801"/>
          </a:xfrm>
          <a:prstGeom prst="rect">
            <a:avLst/>
          </a:prstGeom>
          <a:solidFill>
            <a:schemeClr val="accent1"/>
          </a:solidFill>
          <a:ln w="25400" cap="flat" cmpd="sng" algn="ctr">
            <a:solidFill>
              <a:schemeClr val="accent5">
                <a:lumMod val="60000"/>
                <a:lumOff val="40000"/>
              </a:schemeClr>
            </a:solid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4</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4" name="Rectangle 8"/>
          <p:cNvSpPr/>
          <p:nvPr/>
        </p:nvSpPr>
        <p:spPr>
          <a:xfrm>
            <a:off x="7588737" y="1725673"/>
            <a:ext cx="2808505" cy="685801"/>
          </a:xfrm>
          <a:prstGeom prst="rect">
            <a:avLst/>
          </a:prstGeom>
          <a:solidFill>
            <a:schemeClr val="accent5">
              <a:lumMod val="60000"/>
              <a:lumOff val="40000"/>
            </a:schemeClr>
          </a:solidFill>
          <a:ln w="25400" cap="flat" cmpd="sng" algn="ctr">
            <a:solidFill>
              <a:srgbClr val="B4C7E7"/>
            </a:solid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创新性</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15" name="Rectangle 8"/>
          <p:cNvSpPr/>
          <p:nvPr/>
        </p:nvSpPr>
        <p:spPr>
          <a:xfrm>
            <a:off x="6827516" y="2864776"/>
            <a:ext cx="680983" cy="685801"/>
          </a:xfrm>
          <a:prstGeom prst="rect">
            <a:avLst/>
          </a:prstGeom>
          <a:solidFill>
            <a:srgbClr val="00B0F0"/>
          </a:solidFill>
          <a:ln w="25400" cap="flat" cmpd="sng" algn="ctr">
            <a:solidFill>
              <a:srgbClr val="00B0F0"/>
            </a:solid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5</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6" name="Rectangle 8"/>
          <p:cNvSpPr/>
          <p:nvPr/>
        </p:nvSpPr>
        <p:spPr>
          <a:xfrm>
            <a:off x="7588737" y="2864776"/>
            <a:ext cx="2808505" cy="685801"/>
          </a:xfrm>
          <a:prstGeom prst="rect">
            <a:avLst/>
          </a:prstGeom>
          <a:solidFill>
            <a:schemeClr val="accent1">
              <a:lumMod val="40000"/>
              <a:lumOff val="60000"/>
            </a:schemeClr>
          </a:solidFill>
          <a:ln w="25400" cap="flat" cmpd="sng" algn="ctr">
            <a:solidFill>
              <a:srgbClr val="B4C7E7"/>
            </a:solid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公平性（一）</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2" name="Rectangle 8"/>
          <p:cNvSpPr/>
          <p:nvPr/>
        </p:nvSpPr>
        <p:spPr>
          <a:xfrm>
            <a:off x="6827516" y="2865411"/>
            <a:ext cx="680983" cy="685801"/>
          </a:xfrm>
          <a:prstGeom prst="rect">
            <a:avLst/>
          </a:prstGeom>
          <a:solidFill>
            <a:schemeClr val="accent1"/>
          </a:solidFill>
          <a:ln w="25400" cap="flat" cmpd="sng" algn="ctr">
            <a:solidFill>
              <a:schemeClr val="accent5">
                <a:lumMod val="60000"/>
                <a:lumOff val="40000"/>
              </a:schemeClr>
            </a:solid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5</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4" name="Rectangle 8"/>
          <p:cNvSpPr/>
          <p:nvPr/>
        </p:nvSpPr>
        <p:spPr>
          <a:xfrm>
            <a:off x="7588737" y="2865411"/>
            <a:ext cx="2808505" cy="685801"/>
          </a:xfrm>
          <a:prstGeom prst="rect">
            <a:avLst/>
          </a:prstGeom>
          <a:solidFill>
            <a:schemeClr val="accent5">
              <a:lumMod val="60000"/>
              <a:lumOff val="40000"/>
            </a:schemeClr>
          </a:solidFill>
          <a:ln w="25400" cap="flat" cmpd="sng" algn="ctr">
            <a:solidFill>
              <a:srgbClr val="B4C7E7"/>
            </a:solid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公平性</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3"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药品基本信息</a:t>
            </a:r>
            <a:r>
              <a:rPr lang="zh-CN" altLang="en-US" sz="2700" dirty="0">
                <a:solidFill>
                  <a:srgbClr val="1A1918"/>
                </a:solidFill>
                <a:latin typeface="微软雅黑" panose="020B0503020204020204" pitchFamily="34" charset="-122"/>
                <a:ea typeface="微软雅黑" panose="020B0503020204020204" pitchFamily="34" charset="-122"/>
              </a:rPr>
              <a:t>（猪纤维蛋白粘合剂适应症及参照药建议）</a:t>
            </a:r>
            <a:endParaRPr lang="zh-CN" altLang="en-US" sz="2700" dirty="0">
              <a:solidFill>
                <a:srgbClr val="1A1918"/>
              </a:solidFill>
              <a:latin typeface="微软雅黑" panose="020B0503020204020204" pitchFamily="34" charset="-122"/>
              <a:ea typeface="微软雅黑" panose="020B0503020204020204" pitchFamily="34" charset="-122"/>
            </a:endParaRPr>
          </a:p>
        </p:txBody>
      </p:sp>
      <p:sp>
        <p:nvSpPr>
          <p:cNvPr id="22" name="椭圆 21"/>
          <p:cNvSpPr/>
          <p:nvPr/>
        </p:nvSpPr>
        <p:spPr>
          <a:xfrm>
            <a:off x="616186" y="315174"/>
            <a:ext cx="360000" cy="360000"/>
          </a:xfrm>
          <a:prstGeom prst="ellipse">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1</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605790" y="1398270"/>
            <a:ext cx="7392035" cy="5178425"/>
            <a:chOff x="2058707" y="1578543"/>
            <a:chExt cx="7239090" cy="4360842"/>
          </a:xfrm>
        </p:grpSpPr>
        <p:sp>
          <p:nvSpPr>
            <p:cNvPr id="23" name="矩形: 圆角 22"/>
            <p:cNvSpPr/>
            <p:nvPr/>
          </p:nvSpPr>
          <p:spPr>
            <a:xfrm>
              <a:off x="2058707" y="1817039"/>
              <a:ext cx="7239090" cy="4081171"/>
            </a:xfrm>
            <a:prstGeom prst="roundRect">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通用名称：</a:t>
              </a:r>
              <a:r>
                <a:rPr kumimoji="1" lang="zh-CN" altLang="en-US" sz="1400" dirty="0">
                  <a:solidFill>
                    <a:srgbClr val="1A1918"/>
                  </a:solidFill>
                  <a:latin typeface="微软雅黑" panose="020B0503020204020204" pitchFamily="34" charset="-122"/>
                  <a:ea typeface="微软雅黑" panose="020B0503020204020204" pitchFamily="34" charset="-122"/>
                </a:rPr>
                <a:t>猪纤维蛋白粘合剂</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注册规格：</a:t>
              </a:r>
              <a:r>
                <a:rPr kumimoji="1" lang="en-US" altLang="zh-CN" sz="1400" dirty="0">
                  <a:solidFill>
                    <a:srgbClr val="1A1918"/>
                  </a:solidFill>
                  <a:latin typeface="微软雅黑" panose="020B0503020204020204" pitchFamily="34" charset="-122"/>
                  <a:ea typeface="微软雅黑" panose="020B0503020204020204" pitchFamily="34" charset="-122"/>
                </a:rPr>
                <a:t>2.5ml</a:t>
              </a:r>
              <a:r>
                <a:rPr kumimoji="1" lang="zh-CN" altLang="en-US" sz="1400" dirty="0">
                  <a:solidFill>
                    <a:srgbClr val="1A1918"/>
                  </a:solidFill>
                  <a:latin typeface="微软雅黑" panose="020B0503020204020204" pitchFamily="34" charset="-122"/>
                  <a:ea typeface="微软雅黑" panose="020B0503020204020204" pitchFamily="34" charset="-122"/>
                </a:rPr>
                <a:t>、</a:t>
              </a:r>
              <a:r>
                <a:rPr kumimoji="1" lang="en-US" altLang="zh-CN" sz="1400" dirty="0">
                  <a:solidFill>
                    <a:srgbClr val="1A1918"/>
                  </a:solidFill>
                  <a:latin typeface="微软雅黑" panose="020B0503020204020204" pitchFamily="34" charset="-122"/>
                  <a:ea typeface="微软雅黑" panose="020B0503020204020204" pitchFamily="34" charset="-122"/>
                </a:rPr>
                <a:t>2.0ml</a:t>
              </a:r>
              <a:r>
                <a:rPr kumimoji="1" lang="zh-CN" altLang="en-US" sz="1400" dirty="0">
                  <a:solidFill>
                    <a:srgbClr val="1A1918"/>
                  </a:solidFill>
                  <a:latin typeface="微软雅黑" panose="020B0503020204020204" pitchFamily="34" charset="-122"/>
                  <a:ea typeface="微软雅黑" panose="020B0503020204020204" pitchFamily="34" charset="-122"/>
                </a:rPr>
                <a:t>、</a:t>
              </a:r>
              <a:r>
                <a:rPr kumimoji="1" lang="en-US" altLang="zh-CN" sz="1400" dirty="0">
                  <a:solidFill>
                    <a:srgbClr val="1A1918"/>
                  </a:solidFill>
                  <a:latin typeface="微软雅黑" panose="020B0503020204020204" pitchFamily="34" charset="-122"/>
                  <a:ea typeface="微软雅黑" panose="020B0503020204020204" pitchFamily="34" charset="-122"/>
                </a:rPr>
                <a:t>1.5</a:t>
              </a:r>
              <a:r>
                <a:rPr kumimoji="1" lang="en-US" altLang="zh-CN" sz="1400" dirty="0">
                  <a:solidFill>
                    <a:srgbClr val="1A1918"/>
                  </a:solidFill>
                  <a:latin typeface="微软雅黑" panose="020B0503020204020204" pitchFamily="34" charset="-122"/>
                  <a:ea typeface="微软雅黑" panose="020B0503020204020204" pitchFamily="34" charset="-122"/>
                </a:rPr>
                <a:t>ml</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说明书适应症：</a:t>
              </a:r>
              <a:r>
                <a:rPr kumimoji="1" lang="zh-CN" altLang="en-US" sz="1400" dirty="0">
                  <a:solidFill>
                    <a:srgbClr val="1A1918"/>
                  </a:solidFill>
                  <a:latin typeface="微软雅黑" panose="020B0503020204020204" pitchFamily="34" charset="-122"/>
                  <a:ea typeface="微软雅黑" panose="020B0503020204020204" pitchFamily="34" charset="-122"/>
                </a:rPr>
                <a:t>辅助用于常规手术操作控制止血不满意的外科止血。</a:t>
              </a:r>
              <a:endParaRPr kumimoji="1" lang="zh-CN" altLang="en-US"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用法用量：</a:t>
              </a:r>
              <a:r>
                <a:rPr kumimoji="1" lang="zh-CN" altLang="en-US" sz="1400" dirty="0">
                  <a:solidFill>
                    <a:srgbClr val="1A1918"/>
                  </a:solidFill>
                  <a:latin typeface="微软雅黑" panose="020B0503020204020204" pitchFamily="34" charset="-122"/>
                  <a:ea typeface="微软雅黑" panose="020B0503020204020204" pitchFamily="34" charset="-122"/>
                </a:rPr>
                <a:t>使用剂量根据创面大小确定。</a:t>
              </a:r>
              <a:r>
                <a:rPr kumimoji="1" lang="en-US" altLang="zh-CN" sz="1400" dirty="0">
                  <a:solidFill>
                    <a:srgbClr val="1A1918"/>
                  </a:solidFill>
                  <a:latin typeface="微软雅黑" panose="020B0503020204020204" pitchFamily="34" charset="-122"/>
                  <a:ea typeface="微软雅黑" panose="020B0503020204020204" pitchFamily="34" charset="-122"/>
                </a:rPr>
                <a:t>2.5ml</a:t>
              </a:r>
              <a:r>
                <a:rPr kumimoji="1" lang="zh-CN" altLang="en-US" sz="1400" dirty="0">
                  <a:solidFill>
                    <a:srgbClr val="1A1918"/>
                  </a:solidFill>
                  <a:latin typeface="微软雅黑" panose="020B0503020204020204" pitchFamily="34" charset="-122"/>
                  <a:ea typeface="微软雅黑" panose="020B0503020204020204" pitchFamily="34" charset="-122"/>
                </a:rPr>
                <a:t>规格的猪纤维蛋白粘合剂可以覆盖面积大约为</a:t>
              </a:r>
              <a:r>
                <a:rPr kumimoji="1" lang="en-US" altLang="zh-CN" sz="1400" dirty="0">
                  <a:solidFill>
                    <a:srgbClr val="1A1918"/>
                  </a:solidFill>
                  <a:latin typeface="微软雅黑" panose="020B0503020204020204" pitchFamily="34" charset="-122"/>
                  <a:ea typeface="微软雅黑" panose="020B0503020204020204" pitchFamily="34" charset="-122"/>
                </a:rPr>
                <a:t>25</a:t>
              </a:r>
              <a:r>
                <a:rPr kumimoji="1" lang="zh-CN" altLang="en-US" sz="1400" dirty="0">
                  <a:solidFill>
                    <a:srgbClr val="1A1918"/>
                  </a:solidFill>
                  <a:latin typeface="微软雅黑" panose="020B0503020204020204" pitchFamily="34" charset="-122"/>
                  <a:ea typeface="微软雅黑" panose="020B0503020204020204" pitchFamily="34" charset="-122"/>
                </a:rPr>
                <a:t>平方厘米的创面。</a:t>
              </a:r>
              <a:r>
                <a:rPr kumimoji="1" lang="en-US" altLang="zh-CN" sz="1400" dirty="0">
                  <a:solidFill>
                    <a:srgbClr val="1A1918"/>
                  </a:solidFill>
                  <a:latin typeface="微软雅黑" panose="020B0503020204020204" pitchFamily="34" charset="-122"/>
                  <a:ea typeface="微软雅黑" panose="020B0503020204020204" pitchFamily="34" charset="-122"/>
                  <a:sym typeface="+mn-ea"/>
                </a:rPr>
                <a:t>2.0ml</a:t>
              </a:r>
              <a:r>
                <a:rPr kumimoji="1" lang="zh-CN" altLang="en-US" sz="1400" dirty="0">
                  <a:solidFill>
                    <a:srgbClr val="1A1918"/>
                  </a:solidFill>
                  <a:latin typeface="微软雅黑" panose="020B0503020204020204" pitchFamily="34" charset="-122"/>
                  <a:ea typeface="微软雅黑" panose="020B0503020204020204" pitchFamily="34" charset="-122"/>
                  <a:sym typeface="+mn-ea"/>
                </a:rPr>
                <a:t>规格的猪纤维蛋白粘合剂可以覆盖面积大约为</a:t>
              </a:r>
              <a:r>
                <a:rPr kumimoji="1" lang="en-US" altLang="zh-CN" sz="1400" dirty="0">
                  <a:solidFill>
                    <a:srgbClr val="1A1918"/>
                  </a:solidFill>
                  <a:latin typeface="微软雅黑" panose="020B0503020204020204" pitchFamily="34" charset="-122"/>
                  <a:ea typeface="微软雅黑" panose="020B0503020204020204" pitchFamily="34" charset="-122"/>
                  <a:sym typeface="+mn-ea"/>
                </a:rPr>
                <a:t>20</a:t>
              </a:r>
              <a:r>
                <a:rPr kumimoji="1" lang="zh-CN" altLang="en-US" sz="1400" dirty="0">
                  <a:solidFill>
                    <a:srgbClr val="1A1918"/>
                  </a:solidFill>
                  <a:latin typeface="微软雅黑" panose="020B0503020204020204" pitchFamily="34" charset="-122"/>
                  <a:ea typeface="微软雅黑" panose="020B0503020204020204" pitchFamily="34" charset="-122"/>
                  <a:sym typeface="+mn-ea"/>
                </a:rPr>
                <a:t>平方厘米的创面。</a:t>
              </a:r>
              <a:r>
                <a:rPr kumimoji="1" lang="en-US" altLang="zh-CN" sz="1400" dirty="0">
                  <a:solidFill>
                    <a:srgbClr val="1A1918"/>
                  </a:solidFill>
                  <a:latin typeface="微软雅黑" panose="020B0503020204020204" pitchFamily="34" charset="-122"/>
                  <a:ea typeface="微软雅黑" panose="020B0503020204020204" pitchFamily="34" charset="-122"/>
                  <a:sym typeface="+mn-ea"/>
                </a:rPr>
                <a:t>1</a:t>
              </a:r>
              <a:r>
                <a:rPr kumimoji="1" lang="en-US" altLang="zh-CN" sz="1400" dirty="0">
                  <a:solidFill>
                    <a:srgbClr val="1A1918"/>
                  </a:solidFill>
                  <a:latin typeface="微软雅黑" panose="020B0503020204020204" pitchFamily="34" charset="-122"/>
                  <a:ea typeface="微软雅黑" panose="020B0503020204020204" pitchFamily="34" charset="-122"/>
                  <a:sym typeface="+mn-ea"/>
                </a:rPr>
                <a:t>.5ml</a:t>
              </a:r>
              <a:r>
                <a:rPr kumimoji="1" lang="zh-CN" altLang="en-US" sz="1400" dirty="0">
                  <a:solidFill>
                    <a:srgbClr val="1A1918"/>
                  </a:solidFill>
                  <a:latin typeface="微软雅黑" panose="020B0503020204020204" pitchFamily="34" charset="-122"/>
                  <a:ea typeface="微软雅黑" panose="020B0503020204020204" pitchFamily="34" charset="-122"/>
                  <a:sym typeface="+mn-ea"/>
                </a:rPr>
                <a:t>规格的猪纤维蛋白粘合剂可以覆盖面积大约为</a:t>
              </a:r>
              <a:r>
                <a:rPr kumimoji="1" lang="en-US" altLang="zh-CN" sz="1400" dirty="0">
                  <a:solidFill>
                    <a:srgbClr val="1A1918"/>
                  </a:solidFill>
                  <a:latin typeface="微软雅黑" panose="020B0503020204020204" pitchFamily="34" charset="-122"/>
                  <a:ea typeface="微软雅黑" panose="020B0503020204020204" pitchFamily="34" charset="-122"/>
                  <a:sym typeface="+mn-ea"/>
                </a:rPr>
                <a:t>1</a:t>
              </a:r>
              <a:r>
                <a:rPr kumimoji="1" lang="en-US" altLang="zh-CN" sz="1400" dirty="0">
                  <a:solidFill>
                    <a:srgbClr val="1A1918"/>
                  </a:solidFill>
                  <a:latin typeface="微软雅黑" panose="020B0503020204020204" pitchFamily="34" charset="-122"/>
                  <a:ea typeface="微软雅黑" panose="020B0503020204020204" pitchFamily="34" charset="-122"/>
                  <a:sym typeface="+mn-ea"/>
                </a:rPr>
                <a:t>5</a:t>
              </a:r>
              <a:r>
                <a:rPr kumimoji="1" lang="zh-CN" altLang="en-US" sz="1400" dirty="0">
                  <a:solidFill>
                    <a:srgbClr val="1A1918"/>
                  </a:solidFill>
                  <a:latin typeface="微软雅黑" panose="020B0503020204020204" pitchFamily="34" charset="-122"/>
                  <a:ea typeface="微软雅黑" panose="020B0503020204020204" pitchFamily="34" charset="-122"/>
                  <a:sym typeface="+mn-ea"/>
                </a:rPr>
                <a:t>平方厘米的创面。</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中国大陆首次上市时间：</a:t>
              </a:r>
              <a:r>
                <a:rPr kumimoji="1" lang="en-US" altLang="zh-CN" sz="1400" dirty="0">
                  <a:solidFill>
                    <a:srgbClr val="1A1918"/>
                  </a:solidFill>
                  <a:latin typeface="微软雅黑" panose="020B0503020204020204" pitchFamily="34" charset="-122"/>
                  <a:ea typeface="微软雅黑" panose="020B0503020204020204" pitchFamily="34" charset="-122"/>
                </a:rPr>
                <a:t>2021</a:t>
              </a:r>
              <a:r>
                <a:rPr kumimoji="1" lang="zh-CN" altLang="en-US" sz="1400" dirty="0">
                  <a:solidFill>
                    <a:srgbClr val="1A1918"/>
                  </a:solidFill>
                  <a:latin typeface="微软雅黑" panose="020B0503020204020204" pitchFamily="34" charset="-122"/>
                  <a:ea typeface="微软雅黑" panose="020B0503020204020204" pitchFamily="34" charset="-122"/>
                </a:rPr>
                <a:t>年</a:t>
              </a:r>
              <a:r>
                <a:rPr kumimoji="1" lang="en-US" altLang="zh-CN" sz="1400" dirty="0">
                  <a:solidFill>
                    <a:srgbClr val="1A1918"/>
                  </a:solidFill>
                  <a:latin typeface="微软雅黑" panose="020B0503020204020204" pitchFamily="34" charset="-122"/>
                  <a:ea typeface="微软雅黑" panose="020B0503020204020204" pitchFamily="34" charset="-122"/>
                </a:rPr>
                <a:t>3</a:t>
              </a:r>
              <a:r>
                <a:rPr kumimoji="1" lang="zh-CN" altLang="en-US" sz="1400" dirty="0">
                  <a:solidFill>
                    <a:srgbClr val="1A1918"/>
                  </a:solidFill>
                  <a:latin typeface="微软雅黑" panose="020B0503020204020204" pitchFamily="34" charset="-122"/>
                  <a:ea typeface="微软雅黑" panose="020B0503020204020204" pitchFamily="34" charset="-122"/>
                </a:rPr>
                <a:t>月</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目前大陆地区同通用名药品的上市情况：</a:t>
              </a:r>
              <a:r>
                <a:rPr kumimoji="1" lang="zh-CN" altLang="en-US" sz="1400" dirty="0">
                  <a:solidFill>
                    <a:srgbClr val="1A1918"/>
                  </a:solidFill>
                  <a:latin typeface="微软雅黑" panose="020B0503020204020204" pitchFamily="34" charset="-122"/>
                  <a:ea typeface="微软雅黑" panose="020B0503020204020204" pitchFamily="34" charset="-122"/>
                </a:rPr>
                <a:t>无</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全球首个上市国家</a:t>
              </a:r>
              <a:r>
                <a:rPr kumimoji="1" lang="en-US" altLang="zh-CN" sz="1400" b="1" dirty="0">
                  <a:solidFill>
                    <a:srgbClr val="1A1918"/>
                  </a:solidFill>
                  <a:latin typeface="微软雅黑" panose="020B0503020204020204" pitchFamily="34" charset="-122"/>
                  <a:ea typeface="微软雅黑" panose="020B0503020204020204" pitchFamily="34" charset="-122"/>
                </a:rPr>
                <a:t>/</a:t>
              </a:r>
              <a:r>
                <a:rPr kumimoji="1" lang="zh-CN" altLang="en-US" sz="1400" b="1" dirty="0">
                  <a:solidFill>
                    <a:srgbClr val="1A1918"/>
                  </a:solidFill>
                  <a:latin typeface="微软雅黑" panose="020B0503020204020204" pitchFamily="34" charset="-122"/>
                  <a:ea typeface="微软雅黑" panose="020B0503020204020204" pitchFamily="34" charset="-122"/>
                </a:rPr>
                <a:t>地区及上市时间：</a:t>
              </a:r>
              <a:r>
                <a:rPr kumimoji="1" lang="zh-CN" altLang="en-US" sz="1400" dirty="0">
                  <a:solidFill>
                    <a:srgbClr val="1A1918"/>
                  </a:solidFill>
                  <a:latin typeface="微软雅黑" panose="020B0503020204020204" pitchFamily="34" charset="-122"/>
                  <a:ea typeface="微软雅黑" panose="020B0503020204020204" pitchFamily="34" charset="-122"/>
                </a:rPr>
                <a:t>即我公司此产品</a:t>
              </a:r>
              <a:r>
                <a:rPr kumimoji="1" lang="en-US" altLang="zh-CN" sz="1400" dirty="0">
                  <a:solidFill>
                    <a:srgbClr val="1A1918"/>
                  </a:solidFill>
                  <a:latin typeface="微软雅黑" panose="020B0503020204020204" pitchFamily="34" charset="-122"/>
                  <a:ea typeface="微软雅黑" panose="020B0503020204020204" pitchFamily="34" charset="-122"/>
                </a:rPr>
                <a:t>2021</a:t>
              </a:r>
              <a:r>
                <a:rPr kumimoji="1" lang="zh-CN" altLang="en-US" sz="1400" dirty="0">
                  <a:solidFill>
                    <a:srgbClr val="1A1918"/>
                  </a:solidFill>
                  <a:latin typeface="微软雅黑" panose="020B0503020204020204" pitchFamily="34" charset="-122"/>
                  <a:ea typeface="微软雅黑" panose="020B0503020204020204" pitchFamily="34" charset="-122"/>
                </a:rPr>
                <a:t>年</a:t>
              </a:r>
              <a:r>
                <a:rPr kumimoji="1" lang="en-US" altLang="zh-CN" sz="1400" dirty="0">
                  <a:solidFill>
                    <a:srgbClr val="1A1918"/>
                  </a:solidFill>
                  <a:latin typeface="微软雅黑" panose="020B0503020204020204" pitchFamily="34" charset="-122"/>
                  <a:ea typeface="微软雅黑" panose="020B0503020204020204" pitchFamily="34" charset="-122"/>
                </a:rPr>
                <a:t>3</a:t>
              </a:r>
              <a:r>
                <a:rPr kumimoji="1" lang="zh-CN" altLang="en-US" sz="1400" dirty="0">
                  <a:solidFill>
                    <a:srgbClr val="1A1918"/>
                  </a:solidFill>
                  <a:latin typeface="微软雅黑" panose="020B0503020204020204" pitchFamily="34" charset="-122"/>
                  <a:ea typeface="微软雅黑" panose="020B0503020204020204" pitchFamily="34" charset="-122"/>
                </a:rPr>
                <a:t>月</a:t>
              </a:r>
              <a:r>
                <a:rPr kumimoji="1" lang="en-US" altLang="zh-CN" sz="1400" dirty="0">
                  <a:solidFill>
                    <a:srgbClr val="1A1918"/>
                  </a:solidFill>
                  <a:latin typeface="微软雅黑" panose="020B0503020204020204" pitchFamily="34" charset="-122"/>
                  <a:ea typeface="微软雅黑" panose="020B0503020204020204" pitchFamily="34" charset="-122"/>
                </a:rPr>
                <a:t>30</a:t>
              </a:r>
              <a:r>
                <a:rPr kumimoji="1" lang="zh-CN" altLang="en-US" sz="1400" dirty="0">
                  <a:solidFill>
                    <a:srgbClr val="1A1918"/>
                  </a:solidFill>
                  <a:latin typeface="微软雅黑" panose="020B0503020204020204" pitchFamily="34" charset="-122"/>
                  <a:ea typeface="微软雅黑" panose="020B0503020204020204" pitchFamily="34" charset="-122"/>
                </a:rPr>
                <a:t>日在中国上市</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专利情况</a:t>
              </a:r>
              <a:r>
                <a:rPr kumimoji="1" lang="zh-CN" altLang="en-US" sz="1400" dirty="0">
                  <a:solidFill>
                    <a:srgbClr val="1A1918"/>
                  </a:solidFill>
                  <a:latin typeface="微软雅黑" panose="020B0503020204020204" pitchFamily="34" charset="-122"/>
                  <a:ea typeface="微软雅黑" panose="020B0503020204020204" pitchFamily="34" charset="-122"/>
                </a:rPr>
                <a:t>：专利到期20</a:t>
              </a:r>
              <a:r>
                <a:rPr kumimoji="1" lang="en-US" altLang="zh-CN" sz="1400" dirty="0">
                  <a:solidFill>
                    <a:srgbClr val="1A1918"/>
                  </a:solidFill>
                  <a:latin typeface="微软雅黑" panose="020B0503020204020204" pitchFamily="34" charset="-122"/>
                  <a:ea typeface="微软雅黑" panose="020B0503020204020204" pitchFamily="34" charset="-122"/>
                </a:rPr>
                <a:t>41</a:t>
              </a:r>
              <a:r>
                <a:rPr kumimoji="1" lang="zh-CN" altLang="en-US" sz="1400" dirty="0">
                  <a:solidFill>
                    <a:srgbClr val="1A1918"/>
                  </a:solidFill>
                  <a:latin typeface="微软雅黑" panose="020B0503020204020204" pitchFamily="34" charset="-122"/>
                  <a:ea typeface="微软雅黑" panose="020B0503020204020204" pitchFamily="34" charset="-122"/>
                </a:rPr>
                <a:t>年，剩余1</a:t>
              </a:r>
              <a:r>
                <a:rPr kumimoji="1" lang="en-US" altLang="zh-CN" sz="1400" dirty="0">
                  <a:solidFill>
                    <a:srgbClr val="1A1918"/>
                  </a:solidFill>
                  <a:latin typeface="微软雅黑" panose="020B0503020204020204" pitchFamily="34" charset="-122"/>
                  <a:ea typeface="微软雅黑" panose="020B0503020204020204" pitchFamily="34" charset="-122"/>
                </a:rPr>
                <a:t>5</a:t>
              </a:r>
              <a:r>
                <a:rPr kumimoji="1" lang="zh-CN" altLang="en-US" sz="1400" dirty="0">
                  <a:solidFill>
                    <a:srgbClr val="1A1918"/>
                  </a:solidFill>
                  <a:latin typeface="微软雅黑" panose="020B0503020204020204" pitchFamily="34" charset="-122"/>
                  <a:ea typeface="微软雅黑" panose="020B0503020204020204" pitchFamily="34" charset="-122"/>
                </a:rPr>
                <a:t>年</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是否为</a:t>
              </a:r>
              <a:r>
                <a:rPr kumimoji="1" lang="en-US" altLang="zh-CN" sz="1400" b="1" dirty="0">
                  <a:solidFill>
                    <a:srgbClr val="1A1918"/>
                  </a:solidFill>
                  <a:latin typeface="微软雅黑" panose="020B0503020204020204" pitchFamily="34" charset="-122"/>
                  <a:ea typeface="微软雅黑" panose="020B0503020204020204" pitchFamily="34" charset="-122"/>
                </a:rPr>
                <a:t>OTC</a:t>
              </a:r>
              <a:r>
                <a:rPr kumimoji="1" lang="zh-CN" altLang="en-US" sz="1400" b="1" dirty="0">
                  <a:solidFill>
                    <a:srgbClr val="1A1918"/>
                  </a:solidFill>
                  <a:latin typeface="微软雅黑" panose="020B0503020204020204" pitchFamily="34" charset="-122"/>
                  <a:ea typeface="微软雅黑" panose="020B0503020204020204" pitchFamily="34" charset="-122"/>
                </a:rPr>
                <a:t>药品：</a:t>
              </a:r>
              <a:r>
                <a:rPr kumimoji="1" lang="zh-CN" altLang="en-US" sz="1400" dirty="0">
                  <a:solidFill>
                    <a:srgbClr val="1A1918"/>
                  </a:solidFill>
                  <a:latin typeface="微软雅黑" panose="020B0503020204020204" pitchFamily="34" charset="-122"/>
                  <a:ea typeface="微软雅黑" panose="020B0503020204020204" pitchFamily="34" charset="-122"/>
                </a:rPr>
                <a:t>否</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参照药品建议：</a:t>
              </a:r>
              <a:r>
                <a:rPr kumimoji="1" lang="zh-CN" altLang="en-US" sz="1400" dirty="0">
                  <a:solidFill>
                    <a:schemeClr val="tx1"/>
                  </a:solidFill>
                  <a:latin typeface="微软雅黑" panose="020B0503020204020204" pitchFamily="34" charset="-122"/>
                  <a:ea typeface="微软雅黑" panose="020B0503020204020204" pitchFamily="34" charset="-122"/>
                </a:rPr>
                <a:t>人纤维蛋白原</a:t>
              </a:r>
              <a:endParaRPr kumimoji="1"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25" name="矩形: 圆角 24"/>
            <p:cNvSpPr/>
            <p:nvPr/>
          </p:nvSpPr>
          <p:spPr>
            <a:xfrm>
              <a:off x="2168966" y="1763565"/>
              <a:ext cx="7128108" cy="4175820"/>
            </a:xfrm>
            <a:prstGeom prst="roundRect">
              <a:avLst>
                <a:gd name="adj" fmla="val 4348"/>
              </a:avLst>
            </a:prstGeom>
            <a:noFill/>
            <a:ln w="19050">
              <a:solidFill>
                <a:schemeClr val="accent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26" name="矩形: 圆角 25"/>
            <p:cNvSpPr/>
            <p:nvPr/>
          </p:nvSpPr>
          <p:spPr>
            <a:xfrm>
              <a:off x="2168966" y="1578543"/>
              <a:ext cx="7128108" cy="366300"/>
            </a:xfrm>
            <a:prstGeom prst="roundRect">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猪纤维蛋白粘合剂基本信息</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pSp>
      <p:sp>
        <p:nvSpPr>
          <p:cNvPr id="30" name="Text Placeholder 5"/>
          <p:cNvSpPr txBox="1"/>
          <p:nvPr/>
        </p:nvSpPr>
        <p:spPr>
          <a:xfrm>
            <a:off x="2315606" y="847080"/>
            <a:ext cx="10853738" cy="263075"/>
          </a:xfrm>
          <a:prstGeom prst="rect">
            <a:avLst/>
          </a:prstGeom>
        </p:spPr>
        <p:txBody>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zh-CN" altLang="en-US" sz="1800" dirty="0">
                <a:solidFill>
                  <a:srgbClr val="1A1918"/>
                </a:solidFill>
                <a:latin typeface="微软雅黑" panose="020B0503020204020204" pitchFamily="34" charset="-122"/>
                <a:ea typeface="微软雅黑" panose="020B0503020204020204" pitchFamily="34" charset="-122"/>
              </a:rPr>
              <a:t>国内首个且唯一采用活猪采浆专利技术制备的猪纤维蛋白粘合剂。</a:t>
            </a:r>
            <a:endParaRPr lang="zh-CN" altLang="en-US" sz="1800" dirty="0">
              <a:solidFill>
                <a:srgbClr val="1A1918"/>
              </a:solidFill>
              <a:latin typeface="微软雅黑" panose="020B0503020204020204" pitchFamily="34" charset="-122"/>
              <a:ea typeface="微软雅黑" panose="020B0503020204020204" pitchFamily="34" charset="-122"/>
            </a:endParaRPr>
          </a:p>
          <a:p>
            <a:pPr marL="0" indent="0">
              <a:buNone/>
            </a:pPr>
            <a:endParaRPr lang="en-US" sz="1800" dirty="0">
              <a:solidFill>
                <a:srgbClr val="1A1918"/>
              </a:solidFill>
              <a:latin typeface="微软雅黑" panose="020B0503020204020204" pitchFamily="34" charset="-122"/>
              <a:ea typeface="微软雅黑" panose="020B0503020204020204" pitchFamily="34" charset="-122"/>
            </a:endParaRPr>
          </a:p>
        </p:txBody>
      </p:sp>
      <p:sp>
        <p:nvSpPr>
          <p:cNvPr id="5" name="灯片编号占位符 4"/>
          <p:cNvSpPr>
            <a:spLocks noGrp="1"/>
          </p:cNvSpPr>
          <p:nvPr>
            <p:ph type="sldNum" sz="quarter" idx="4"/>
          </p:nvPr>
        </p:nvSpPr>
        <p:spPr/>
        <p:txBody>
          <a:bodyPr/>
          <a:lstStyle/>
          <a:p>
            <a:pPr defTabSz="1218565"/>
            <a:r>
              <a:rPr lang="en-US" altLang="ja-JP" dirty="0"/>
              <a:t>1</a:t>
            </a:r>
            <a:endParaRPr lang="ja-JP" altLang="en-US" dirty="0"/>
          </a:p>
        </p:txBody>
      </p:sp>
      <p:sp>
        <p:nvSpPr>
          <p:cNvPr id="39" name="文本框 38"/>
          <p:cNvSpPr txBox="1"/>
          <p:nvPr/>
        </p:nvSpPr>
        <p:spPr>
          <a:xfrm>
            <a:off x="8366713" y="3032185"/>
            <a:ext cx="2793616" cy="2999740"/>
          </a:xfrm>
          <a:prstGeom prst="rect">
            <a:avLst/>
          </a:prstGeom>
          <a:noFill/>
        </p:spPr>
        <p:txBody>
          <a:bodyPr wrap="square">
            <a:spAutoFit/>
          </a:bodyPr>
          <a:lstStyle>
            <a:defPPr>
              <a:defRPr lang="en-US"/>
            </a:defPPr>
            <a:lvl1pPr marL="171450" indent="-171450">
              <a:buFont typeface="Arial" panose="020B0604020202020204" pitchFamily="34" charset="0"/>
              <a:buChar char="•"/>
              <a:defRPr sz="1200" u="none" strike="noStrike" baseline="0">
                <a:solidFill>
                  <a:srgbClr val="333333"/>
                </a:solidFill>
                <a:latin typeface="微软雅黑" panose="020B0503020204020204" pitchFamily="34" charset="-122"/>
                <a:ea typeface="微软雅黑" panose="020B0503020204020204" pitchFamily="34" charset="-122"/>
              </a:defRPr>
            </a:lvl1pPr>
          </a:lstStyle>
          <a:p>
            <a:pPr marL="285750" indent="-285750" fontAlgn="auto">
              <a:lnSpc>
                <a:spcPct val="150000"/>
              </a:lnSpc>
              <a:buFont typeface="Wingdings" panose="05000000000000000000" pitchFamily="2" charset="2"/>
              <a:buChar char="ü"/>
            </a:pPr>
            <a:r>
              <a:rPr lang="en-US" altLang="zh-CN" sz="1400" b="1" dirty="0"/>
              <a:t>2020</a:t>
            </a:r>
            <a:r>
              <a:rPr lang="zh-CN" altLang="en-US" sz="1400" b="1" dirty="0"/>
              <a:t>年，</a:t>
            </a:r>
            <a:r>
              <a:rPr lang="zh-CN" altLang="en-US" sz="1400" dirty="0"/>
              <a:t>国家药典委员会</a:t>
            </a:r>
            <a:r>
              <a:rPr lang="en-US" altLang="zh-CN" sz="1400" dirty="0"/>
              <a:t>《</a:t>
            </a:r>
            <a:r>
              <a:rPr lang="zh-CN" altLang="en-US" sz="1400" dirty="0"/>
              <a:t>药典生函（</a:t>
            </a:r>
            <a:r>
              <a:rPr lang="en-US" altLang="zh-CN" sz="1400" dirty="0"/>
              <a:t>2020</a:t>
            </a:r>
            <a:r>
              <a:rPr lang="zh-CN" altLang="en-US" sz="1400" dirty="0"/>
              <a:t>）</a:t>
            </a:r>
            <a:r>
              <a:rPr lang="en-US" altLang="zh-CN" sz="1400" dirty="0"/>
              <a:t>139</a:t>
            </a:r>
            <a:r>
              <a:rPr lang="zh-CN" altLang="en-US" sz="1400" dirty="0"/>
              <a:t>号</a:t>
            </a:r>
            <a:r>
              <a:rPr lang="en-US" altLang="zh-CN" sz="1400" dirty="0"/>
              <a:t>》</a:t>
            </a:r>
            <a:r>
              <a:rPr lang="zh-CN" altLang="en-US" sz="1400" dirty="0"/>
              <a:t>确定本品通用名为</a:t>
            </a:r>
            <a:r>
              <a:rPr lang="zh-CN" altLang="en-US" sz="1400" b="1" dirty="0"/>
              <a:t>“猪纤维蛋白粘合剂”</a:t>
            </a:r>
            <a:r>
              <a:rPr lang="zh-CN" altLang="en-US" sz="1400" dirty="0"/>
              <a:t>。</a:t>
            </a:r>
            <a:endParaRPr lang="en-US" altLang="zh-CN" sz="1400" dirty="0"/>
          </a:p>
          <a:p>
            <a:pPr marL="285750" indent="-285750" fontAlgn="auto">
              <a:lnSpc>
                <a:spcPct val="150000"/>
              </a:lnSpc>
              <a:buFont typeface="Wingdings" panose="05000000000000000000" pitchFamily="2" charset="2"/>
              <a:buChar char="ü"/>
            </a:pPr>
            <a:r>
              <a:rPr lang="en-US" altLang="zh-CN" sz="1400" b="1" dirty="0"/>
              <a:t>2021</a:t>
            </a:r>
            <a:r>
              <a:rPr lang="zh-CN" altLang="en-US" sz="1400" b="1" dirty="0"/>
              <a:t>年，本品</a:t>
            </a:r>
            <a:r>
              <a:rPr lang="en-US" altLang="zh-CN" sz="1400" b="1" dirty="0"/>
              <a:t>2.5ml</a:t>
            </a:r>
            <a:r>
              <a:rPr lang="zh-CN" altLang="en-US" sz="1400" b="1" dirty="0"/>
              <a:t>规格获得药品注册</a:t>
            </a:r>
            <a:r>
              <a:rPr lang="zh-CN" altLang="en-US" sz="1400" dirty="0"/>
              <a:t>，分类为治疗用生物制品，注册过程中免临床。</a:t>
            </a:r>
            <a:endParaRPr lang="zh-CN" altLang="en-US" sz="1400" dirty="0"/>
          </a:p>
          <a:p>
            <a:pPr marL="285750" indent="-285750" fontAlgn="auto">
              <a:lnSpc>
                <a:spcPct val="150000"/>
              </a:lnSpc>
              <a:buFont typeface="Wingdings" panose="05000000000000000000" pitchFamily="2" charset="2"/>
              <a:buChar char="ü"/>
            </a:pPr>
            <a:r>
              <a:rPr lang="en-US" altLang="zh-CN" sz="1400" b="1" dirty="0"/>
              <a:t>2025</a:t>
            </a:r>
            <a:r>
              <a:rPr lang="zh-CN" altLang="en-US" sz="1400" b="1" dirty="0"/>
              <a:t>年，</a:t>
            </a:r>
            <a:r>
              <a:rPr lang="zh-CN" altLang="en-US" sz="1400" b="1" dirty="0">
                <a:sym typeface="+mn-ea"/>
              </a:rPr>
              <a:t>本品</a:t>
            </a:r>
            <a:r>
              <a:rPr lang="en-US" altLang="zh-CN" sz="1400" b="1" dirty="0">
                <a:sym typeface="+mn-ea"/>
              </a:rPr>
              <a:t>1.5ml</a:t>
            </a:r>
            <a:r>
              <a:rPr lang="zh-CN" altLang="en-US" sz="1400" b="1" dirty="0">
                <a:sym typeface="+mn-ea"/>
              </a:rPr>
              <a:t>、</a:t>
            </a:r>
            <a:r>
              <a:rPr lang="en-US" altLang="zh-CN" sz="1400" b="1" dirty="0">
                <a:sym typeface="+mn-ea"/>
              </a:rPr>
              <a:t>2.0ml</a:t>
            </a:r>
            <a:r>
              <a:rPr lang="zh-CN" altLang="en-US" sz="1400" b="1" dirty="0">
                <a:sym typeface="+mn-ea"/>
              </a:rPr>
              <a:t>规格获得药品注册。</a:t>
            </a:r>
            <a:endParaRPr lang="en-US" altLang="zh-CN" sz="1400" b="1" dirty="0">
              <a:sym typeface="+mn-ea"/>
            </a:endParaRPr>
          </a:p>
        </p:txBody>
      </p:sp>
      <p:sp>
        <p:nvSpPr>
          <p:cNvPr id="40" name="矩形: 圆角 39"/>
          <p:cNvSpPr/>
          <p:nvPr/>
        </p:nvSpPr>
        <p:spPr>
          <a:xfrm>
            <a:off x="8308514" y="1398114"/>
            <a:ext cx="2910014" cy="5178799"/>
          </a:xfrm>
          <a:prstGeom prst="roundRect">
            <a:avLst>
              <a:gd name="adj" fmla="val 5188"/>
            </a:avLst>
          </a:prstGeom>
          <a:noFill/>
          <a:ln w="19050">
            <a:solidFill>
              <a:schemeClr val="accent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50" name="矩形 49"/>
          <p:cNvSpPr/>
          <p:nvPr/>
        </p:nvSpPr>
        <p:spPr>
          <a:xfrm>
            <a:off x="8509990" y="1447766"/>
            <a:ext cx="2507062" cy="396000"/>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rgbClr val="1A1918"/>
                </a:solidFill>
                <a:latin typeface="微软雅黑" panose="020B0503020204020204" pitchFamily="34" charset="-122"/>
                <a:ea typeface="微软雅黑" panose="020B0503020204020204" pitchFamily="34" charset="-122"/>
              </a:rPr>
              <a:t>猪纤维蛋白粘合剂</a:t>
            </a:r>
            <a:endParaRPr kumimoji="1" lang="zh-CN" altLang="en-US" sz="1600" b="1" dirty="0">
              <a:solidFill>
                <a:srgbClr val="1A1918"/>
              </a:solidFill>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3248" y="1580207"/>
            <a:ext cx="2293804" cy="1529003"/>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药品基本信息</a:t>
            </a:r>
            <a:r>
              <a:rPr lang="zh-CN" altLang="en-US" sz="2700" dirty="0">
                <a:solidFill>
                  <a:srgbClr val="1A1918"/>
                </a:solidFill>
                <a:latin typeface="微软雅黑" panose="020B0503020204020204" pitchFamily="34" charset="-122"/>
                <a:ea typeface="微软雅黑" panose="020B0503020204020204" pitchFamily="34" charset="-122"/>
              </a:rPr>
              <a:t>（疾病情况、治疗现状及未满足临床需求）</a:t>
            </a:r>
            <a:endParaRPr lang="en-US" sz="3200" dirty="0">
              <a:solidFill>
                <a:srgbClr val="1A1918"/>
              </a:solidFill>
              <a:latin typeface="微软雅黑" panose="020B0503020204020204" pitchFamily="34" charset="-122"/>
              <a:ea typeface="微软雅黑" panose="020B0503020204020204" pitchFamily="34" charset="-122"/>
            </a:endParaRPr>
          </a:p>
        </p:txBody>
      </p:sp>
      <p:sp>
        <p:nvSpPr>
          <p:cNvPr id="22" name="椭圆 21"/>
          <p:cNvSpPr/>
          <p:nvPr/>
        </p:nvSpPr>
        <p:spPr>
          <a:xfrm>
            <a:off x="616186" y="315174"/>
            <a:ext cx="360000" cy="360000"/>
          </a:xfrm>
          <a:prstGeom prst="ellipse">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1</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0" name="矩形: 圆角 39"/>
          <p:cNvSpPr/>
          <p:nvPr/>
        </p:nvSpPr>
        <p:spPr>
          <a:xfrm>
            <a:off x="311150" y="1013509"/>
            <a:ext cx="1800492" cy="4843849"/>
          </a:xfrm>
          <a:prstGeom prst="roundRect">
            <a:avLst>
              <a:gd name="adj" fmla="val 5188"/>
            </a:avLst>
          </a:prstGeom>
          <a:noFill/>
          <a:ln w="19050">
            <a:solidFill>
              <a:srgbClr val="B4C7E7"/>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50" name="矩形 49"/>
          <p:cNvSpPr/>
          <p:nvPr/>
        </p:nvSpPr>
        <p:spPr>
          <a:xfrm>
            <a:off x="449428" y="3513297"/>
            <a:ext cx="1523936" cy="691180"/>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rgbClr val="1A1918"/>
                </a:solidFill>
                <a:latin typeface="微软雅黑" panose="020B0503020204020204" pitchFamily="34" charset="-122"/>
                <a:ea typeface="微软雅黑" panose="020B0503020204020204" pitchFamily="34" charset="-122"/>
              </a:rPr>
              <a:t>围手术期</a:t>
            </a:r>
            <a:endParaRPr kumimoji="1" lang="zh-CN" altLang="en-US" sz="1600" b="1" dirty="0">
              <a:solidFill>
                <a:srgbClr val="1A1918"/>
              </a:solidFill>
              <a:latin typeface="微软雅黑" panose="020B0503020204020204" pitchFamily="34" charset="-122"/>
              <a:ea typeface="微软雅黑" panose="020B0503020204020204" pitchFamily="34" charset="-122"/>
            </a:endParaRPr>
          </a:p>
          <a:p>
            <a:pPr algn="ctr"/>
            <a:r>
              <a:rPr kumimoji="1" lang="zh-CN" altLang="en-US" sz="1600" b="1" dirty="0">
                <a:solidFill>
                  <a:srgbClr val="1A1918"/>
                </a:solidFill>
                <a:latin typeface="微软雅黑" panose="020B0503020204020204" pitchFamily="34" charset="-122"/>
                <a:ea typeface="微软雅黑" panose="020B0503020204020204" pitchFamily="34" charset="-122"/>
              </a:rPr>
              <a:t>出、渗血治疗现状</a:t>
            </a:r>
            <a:endParaRPr kumimoji="1" lang="zh-CN" altLang="en-US" sz="1600" b="1" dirty="0">
              <a:solidFill>
                <a:srgbClr val="1A1918"/>
              </a:solidFill>
              <a:latin typeface="微软雅黑" panose="020B0503020204020204" pitchFamily="34" charset="-122"/>
              <a:ea typeface="微软雅黑" panose="020B0503020204020204" pitchFamily="34" charset="-122"/>
            </a:endParaRPr>
          </a:p>
        </p:txBody>
      </p:sp>
      <p:sp>
        <p:nvSpPr>
          <p:cNvPr id="5" name="灯片编号占位符 4"/>
          <p:cNvSpPr>
            <a:spLocks noGrp="1"/>
          </p:cNvSpPr>
          <p:nvPr>
            <p:ph type="sldNum" sz="quarter" idx="4"/>
          </p:nvPr>
        </p:nvSpPr>
        <p:spPr/>
        <p:txBody>
          <a:bodyPr/>
          <a:lstStyle/>
          <a:p>
            <a:pPr defTabSz="1218565"/>
            <a:r>
              <a:rPr lang="en-US" altLang="ja-JP" dirty="0"/>
              <a:t>1</a:t>
            </a:r>
            <a:endParaRPr lang="ja-JP" altLang="en-US" dirty="0"/>
          </a:p>
        </p:txBody>
      </p:sp>
      <p:grpSp>
        <p:nvGrpSpPr>
          <p:cNvPr id="12" name="组合 11"/>
          <p:cNvGrpSpPr/>
          <p:nvPr>
            <p:custDataLst>
              <p:tags r:id="rId5"/>
            </p:custDataLst>
          </p:nvPr>
        </p:nvGrpSpPr>
        <p:grpSpPr>
          <a:xfrm>
            <a:off x="2623471" y="999775"/>
            <a:ext cx="8884037" cy="4862195"/>
            <a:chOff x="2623471" y="999775"/>
            <a:chExt cx="8884037" cy="4862195"/>
          </a:xfrm>
        </p:grpSpPr>
        <p:grpSp>
          <p:nvGrpSpPr>
            <p:cNvPr id="9" name="组合 8"/>
            <p:cNvGrpSpPr/>
            <p:nvPr/>
          </p:nvGrpSpPr>
          <p:grpSpPr>
            <a:xfrm>
              <a:off x="2623471" y="999775"/>
              <a:ext cx="8884037" cy="4857710"/>
              <a:chOff x="2623471" y="999775"/>
              <a:chExt cx="8884037" cy="5192668"/>
            </a:xfrm>
          </p:grpSpPr>
          <p:grpSp>
            <p:nvGrpSpPr>
              <p:cNvPr id="2" name="组合 1"/>
              <p:cNvGrpSpPr/>
              <p:nvPr/>
            </p:nvGrpSpPr>
            <p:grpSpPr>
              <a:xfrm>
                <a:off x="2623471" y="1013506"/>
                <a:ext cx="8829675" cy="1301911"/>
                <a:chOff x="299902" y="1446589"/>
                <a:chExt cx="9291867" cy="1096362"/>
              </a:xfrm>
            </p:grpSpPr>
            <p:sp>
              <p:nvSpPr>
                <p:cNvPr id="25" name="矩形: 圆角 24"/>
                <p:cNvSpPr/>
                <p:nvPr>
                  <p:custDataLst>
                    <p:tags r:id="rId6"/>
                  </p:custDataLst>
                </p:nvPr>
              </p:nvSpPr>
              <p:spPr>
                <a:xfrm>
                  <a:off x="4201751" y="1446589"/>
                  <a:ext cx="5390018" cy="1084358"/>
                </a:xfrm>
                <a:prstGeom prst="roundRect">
                  <a:avLst>
                    <a:gd name="adj" fmla="val 4348"/>
                  </a:avLst>
                </a:prstGeom>
                <a:noFill/>
                <a:ln w="19050">
                  <a:solidFill>
                    <a:srgbClr val="B4C7E7"/>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6" name="矩形: 圆角 25"/>
                <p:cNvSpPr/>
                <p:nvPr>
                  <p:custDataLst>
                    <p:tags r:id="rId7"/>
                  </p:custDataLst>
                </p:nvPr>
              </p:nvSpPr>
              <p:spPr>
                <a:xfrm>
                  <a:off x="299902" y="1446589"/>
                  <a:ext cx="3322486" cy="1096362"/>
                </a:xfrm>
                <a:prstGeom prst="roundRect">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围手术期出、渗血导致严重后</a:t>
                  </a:r>
                  <a:endParaRPr kumimoji="1" lang="zh-CN" altLang="en-US" sz="16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600" b="1" dirty="0">
                      <a:solidFill>
                        <a:schemeClr val="bg1"/>
                      </a:solidFill>
                      <a:latin typeface="微软雅黑" panose="020B0503020204020204" pitchFamily="34" charset="-122"/>
                      <a:ea typeface="微软雅黑" panose="020B0503020204020204" pitchFamily="34" charset="-122"/>
                    </a:rPr>
                    <a:t>果，增加医疗费用支出</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pSp>
          <p:grpSp>
            <p:nvGrpSpPr>
              <p:cNvPr id="16" name="组合 15"/>
              <p:cNvGrpSpPr/>
              <p:nvPr/>
            </p:nvGrpSpPr>
            <p:grpSpPr>
              <a:xfrm>
                <a:off x="2623471" y="2577823"/>
                <a:ext cx="8829675" cy="2079121"/>
                <a:chOff x="299902" y="1304163"/>
                <a:chExt cx="9291867" cy="1245949"/>
              </a:xfrm>
            </p:grpSpPr>
            <p:sp>
              <p:nvSpPr>
                <p:cNvPr id="17" name="矩形: 圆角 16"/>
                <p:cNvSpPr/>
                <p:nvPr>
                  <p:custDataLst>
                    <p:tags r:id="rId8"/>
                  </p:custDataLst>
                </p:nvPr>
              </p:nvSpPr>
              <p:spPr>
                <a:xfrm>
                  <a:off x="4201751" y="1306197"/>
                  <a:ext cx="5390018" cy="1243102"/>
                </a:xfrm>
                <a:prstGeom prst="roundRect">
                  <a:avLst>
                    <a:gd name="adj" fmla="val 4348"/>
                  </a:avLst>
                </a:prstGeom>
                <a:noFill/>
                <a:ln w="19050">
                  <a:solidFill>
                    <a:srgbClr val="B4C7E7"/>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9" name="矩形: 圆角 18"/>
                <p:cNvSpPr/>
                <p:nvPr>
                  <p:custDataLst>
                    <p:tags r:id="rId9"/>
                  </p:custDataLst>
                </p:nvPr>
              </p:nvSpPr>
              <p:spPr>
                <a:xfrm>
                  <a:off x="299902" y="1304163"/>
                  <a:ext cx="3322486" cy="1245949"/>
                </a:xfrm>
                <a:prstGeom prst="roundRect">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术中除标准外科止血操作外，</a:t>
                  </a:r>
                  <a:endParaRPr kumimoji="1" lang="zh-CN" altLang="en-US" sz="16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600" b="1" dirty="0">
                      <a:solidFill>
                        <a:schemeClr val="bg1"/>
                      </a:solidFill>
                      <a:latin typeface="微软雅黑" panose="020B0503020204020204" pitchFamily="34" charset="-122"/>
                      <a:ea typeface="微软雅黑" panose="020B0503020204020204" pitchFamily="34" charset="-122"/>
                    </a:rPr>
                    <a:t>常需局部止血药物治疗</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pSp>
          <p:grpSp>
            <p:nvGrpSpPr>
              <p:cNvPr id="20" name="组合 19"/>
              <p:cNvGrpSpPr/>
              <p:nvPr/>
            </p:nvGrpSpPr>
            <p:grpSpPr>
              <a:xfrm>
                <a:off x="2623471" y="4894605"/>
                <a:ext cx="8829675" cy="1297838"/>
                <a:chOff x="299902" y="1313976"/>
                <a:chExt cx="9291867" cy="1092932"/>
              </a:xfrm>
            </p:grpSpPr>
            <p:sp>
              <p:nvSpPr>
                <p:cNvPr id="21" name="矩形: 圆角 20"/>
                <p:cNvSpPr/>
                <p:nvPr>
                  <p:custDataLst>
                    <p:tags r:id="rId10"/>
                  </p:custDataLst>
                </p:nvPr>
              </p:nvSpPr>
              <p:spPr>
                <a:xfrm>
                  <a:off x="4201751" y="1313976"/>
                  <a:ext cx="5390018" cy="1092932"/>
                </a:xfrm>
                <a:prstGeom prst="roundRect">
                  <a:avLst>
                    <a:gd name="adj" fmla="val 4348"/>
                  </a:avLst>
                </a:prstGeom>
                <a:noFill/>
                <a:ln w="19050">
                  <a:solidFill>
                    <a:srgbClr val="B4C7E7"/>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4" name="矩形: 圆角 23"/>
                <p:cNvSpPr/>
                <p:nvPr>
                  <p:custDataLst>
                    <p:tags r:id="rId11"/>
                  </p:custDataLst>
                </p:nvPr>
              </p:nvSpPr>
              <p:spPr>
                <a:xfrm>
                  <a:off x="299902" y="1320835"/>
                  <a:ext cx="3322486" cy="1086073"/>
                </a:xfrm>
                <a:prstGeom prst="roundRect">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现有局部止血产品疗效和安全</a:t>
                  </a:r>
                  <a:endParaRPr kumimoji="1" lang="zh-CN" altLang="en-US" sz="16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600" b="1" dirty="0">
                      <a:solidFill>
                        <a:schemeClr val="bg1"/>
                      </a:solidFill>
                      <a:latin typeface="微软雅黑" panose="020B0503020204020204" pitchFamily="34" charset="-122"/>
                      <a:ea typeface="微软雅黑" panose="020B0503020204020204" pitchFamily="34" charset="-122"/>
                    </a:rPr>
                    <a:t>性各有不足，无法满足临床需</a:t>
                  </a:r>
                  <a:endParaRPr kumimoji="1" lang="zh-CN" altLang="en-US" sz="16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600" b="1" dirty="0">
                      <a:solidFill>
                        <a:schemeClr val="bg1"/>
                      </a:solidFill>
                      <a:latin typeface="微软雅黑" panose="020B0503020204020204" pitchFamily="34" charset="-122"/>
                      <a:ea typeface="微软雅黑" panose="020B0503020204020204" pitchFamily="34" charset="-122"/>
                    </a:rPr>
                    <a:t>求</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pSp>
          <p:sp>
            <p:nvSpPr>
              <p:cNvPr id="7" name="矩形 6"/>
              <p:cNvSpPr/>
              <p:nvPr>
                <p:custDataLst>
                  <p:tags r:id="rId12"/>
                </p:custDataLst>
              </p:nvPr>
            </p:nvSpPr>
            <p:spPr>
              <a:xfrm>
                <a:off x="6332259" y="999775"/>
                <a:ext cx="5175249" cy="1193984"/>
              </a:xfrm>
              <a:prstGeom prst="rect">
                <a:avLst/>
              </a:prstGeom>
            </p:spPr>
            <p:txBody>
              <a:bodyPr wrap="square">
                <a:spAutoFit/>
              </a:bodyPr>
              <a:lstStyle/>
              <a:p>
                <a:pPr marL="285750" indent="-285750" fontAlgn="auto">
                  <a:lnSpc>
                    <a:spcPts val="2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频繁出血不仅会延长手术时间，严重影响手术效果和患者预后，还会增加输血、感染、二次手术和死亡的风险，为医疗系统带来沉重负担</a:t>
                </a:r>
                <a:r>
                  <a:rPr lang="en-US" altLang="zh-CN" sz="1200" baseline="300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285750" indent="-285750" fontAlgn="auto">
                  <a:lnSpc>
                    <a:spcPts val="2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也会大幅增加医疗费用支出，数据显示，术中难以控制的出血患者， 住院费用比可控的出血患者高约</a:t>
                </a:r>
                <a:r>
                  <a:rPr lang="en-US" altLang="zh-CN" sz="1200" dirty="0">
                    <a:latin typeface="微软雅黑" panose="020B0503020204020204" pitchFamily="34" charset="-122"/>
                    <a:ea typeface="微软雅黑" panose="020B0503020204020204" pitchFamily="34" charset="-122"/>
                  </a:rPr>
                  <a:t>19.9%</a:t>
                </a:r>
                <a:r>
                  <a:rPr lang="en-US" altLang="zh-CN" sz="1200" baseline="300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 </a:t>
                </a:r>
                <a:endParaRPr lang="zh-CN" altLang="en-US" sz="1200" dirty="0">
                  <a:latin typeface="微软雅黑" panose="020B0503020204020204" pitchFamily="34" charset="-122"/>
                  <a:ea typeface="微软雅黑" panose="020B0503020204020204" pitchFamily="34" charset="-122"/>
                </a:endParaRPr>
              </a:p>
            </p:txBody>
          </p:sp>
          <p:sp>
            <p:nvSpPr>
              <p:cNvPr id="8" name="矩形 7"/>
              <p:cNvSpPr/>
              <p:nvPr>
                <p:custDataLst>
                  <p:tags r:id="rId13"/>
                </p:custDataLst>
              </p:nvPr>
            </p:nvSpPr>
            <p:spPr>
              <a:xfrm>
                <a:off x="6331236" y="2581346"/>
                <a:ext cx="5175250" cy="2047218"/>
              </a:xfrm>
              <a:prstGeom prst="rect">
                <a:avLst/>
              </a:prstGeom>
            </p:spPr>
            <p:txBody>
              <a:bodyPr wrap="square">
                <a:noAutofit/>
              </a:bodyPr>
              <a:lstStyle/>
              <a:p>
                <a:pPr marL="285750" indent="-285750" fontAlgn="auto">
                  <a:lnSpc>
                    <a:spcPts val="18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外科手术的广泛开展，</a:t>
                </a:r>
                <a:r>
                  <a:rPr lang="en-US" altLang="zh-CN" sz="1200" dirty="0">
                    <a:latin typeface="微软雅黑" panose="020B0503020204020204" pitchFamily="34" charset="-122"/>
                    <a:ea typeface="微软雅黑" panose="020B0503020204020204" pitchFamily="34" charset="-122"/>
                  </a:rPr>
                  <a:t>2020 </a:t>
                </a:r>
                <a:r>
                  <a:rPr lang="zh-CN" altLang="en-US" sz="1200" dirty="0">
                    <a:latin typeface="微软雅黑" panose="020B0503020204020204" pitchFamily="34" charset="-122"/>
                    <a:ea typeface="微软雅黑" panose="020B0503020204020204" pitchFamily="34" charset="-122"/>
                  </a:rPr>
                  <a:t>年中国外科手术台数为</a:t>
                </a:r>
                <a:r>
                  <a:rPr lang="en-US" altLang="zh-CN" sz="1200" dirty="0">
                    <a:latin typeface="微软雅黑" panose="020B0503020204020204" pitchFamily="34" charset="-122"/>
                    <a:ea typeface="微软雅黑" panose="020B0503020204020204" pitchFamily="34" charset="-122"/>
                  </a:rPr>
                  <a:t> 6320 </a:t>
                </a:r>
                <a:r>
                  <a:rPr lang="zh-CN" altLang="en-US" sz="1200" dirty="0">
                    <a:latin typeface="微软雅黑" panose="020B0503020204020204" pitchFamily="34" charset="-122"/>
                    <a:ea typeface="微软雅黑" panose="020B0503020204020204" pitchFamily="34" charset="-122"/>
                  </a:rPr>
                  <a:t>万台</a:t>
                </a:r>
                <a:r>
                  <a:rPr lang="en-US" altLang="zh-CN" sz="1200" dirty="0">
                    <a:latin typeface="微软雅黑" panose="020B0503020204020204" pitchFamily="34" charset="-122"/>
                    <a:ea typeface="微软雅黑" panose="020B0503020204020204" pitchFamily="34" charset="-122"/>
                  </a:rPr>
                  <a:t>，手术</a:t>
                </a:r>
                <a:r>
                  <a:rPr lang="zh-CN" altLang="en-US" sz="1200" dirty="0">
                    <a:latin typeface="微软雅黑" panose="020B0503020204020204" pitchFamily="34" charset="-122"/>
                    <a:ea typeface="微软雅黑" panose="020B0503020204020204" pitchFamily="34" charset="-122"/>
                  </a:rPr>
                  <a:t>并发症的风险亦不容忽视，其中出血相关的发生率可达29.9%</a:t>
                </a:r>
                <a:r>
                  <a:rPr lang="zh-CN" altLang="en-US" sz="1200" baseline="300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 。 </a:t>
                </a:r>
                <a:endParaRPr lang="zh-CN" altLang="en-US" sz="1200" dirty="0">
                  <a:latin typeface="微软雅黑" panose="020B0503020204020204" pitchFamily="34" charset="-122"/>
                  <a:ea typeface="微软雅黑" panose="020B0503020204020204" pitchFamily="34" charset="-122"/>
                </a:endParaRPr>
              </a:p>
              <a:p>
                <a:pPr marL="285750" indent="-285750" fontAlgn="auto">
                  <a:lnSpc>
                    <a:spcPts val="18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标准外科止血如结扎、缝合、电凝后，止血不佳比例依然有达2%</a:t>
                </a:r>
                <a:r>
                  <a:rPr lang="zh-CN" altLang="en-US" sz="1200" baseline="30000" dirty="0">
                    <a:latin typeface="微软雅黑" panose="020B0503020204020204" pitchFamily="34" charset="-122"/>
                    <a:ea typeface="微软雅黑" panose="020B0503020204020204" pitchFamily="34" charset="-122"/>
                  </a:rPr>
                  <a:t>4-6</a:t>
                </a:r>
                <a:r>
                  <a:rPr lang="zh-CN" altLang="en-US" sz="1200" dirty="0">
                    <a:latin typeface="微软雅黑" panose="020B0503020204020204" pitchFamily="34" charset="-122"/>
                    <a:ea typeface="微软雅黑" panose="020B0503020204020204" pitchFamily="34" charset="-122"/>
                  </a:rPr>
                  <a:t>。 </a:t>
                </a:r>
                <a:r>
                  <a:rPr lang="en-US" altLang="zh-CN" sz="1200" dirty="0">
                    <a:solidFill>
                      <a:schemeClr val="tx1"/>
                    </a:solidFill>
                    <a:latin typeface="微软雅黑" panose="020B0503020204020204" pitchFamily="34" charset="-122"/>
                    <a:ea typeface="微软雅黑" panose="020B0503020204020204" pitchFamily="34" charset="-122"/>
                  </a:rPr>
                  <a:t>2020</a:t>
                </a:r>
                <a:r>
                  <a:rPr lang="zh-CN" altLang="en-US" sz="1200" dirty="0">
                    <a:solidFill>
                      <a:schemeClr val="tx1"/>
                    </a:solidFill>
                    <a:latin typeface="微软雅黑" panose="020B0503020204020204" pitchFamily="34" charset="-122"/>
                    <a:ea typeface="微软雅黑" panose="020B0503020204020204" pitchFamily="34" charset="-122"/>
                  </a:rPr>
                  <a:t>年本产品适用的止血不佳的手术达</a:t>
                </a:r>
                <a:r>
                  <a:rPr lang="en-US" altLang="zh-CN" sz="1200" dirty="0">
                    <a:solidFill>
                      <a:schemeClr val="tx1"/>
                    </a:solidFill>
                    <a:latin typeface="微软雅黑" panose="020B0503020204020204" pitchFamily="34" charset="-122"/>
                    <a:ea typeface="微软雅黑" panose="020B0503020204020204" pitchFamily="34" charset="-122"/>
                  </a:rPr>
                  <a:t>37</a:t>
                </a:r>
                <a:r>
                  <a:rPr lang="zh-CN" altLang="en-US" sz="1200" dirty="0">
                    <a:solidFill>
                      <a:schemeClr val="tx1"/>
                    </a:solidFill>
                    <a:latin typeface="微软雅黑" panose="020B0503020204020204" pitchFamily="34" charset="-122"/>
                    <a:ea typeface="微软雅黑" panose="020B0503020204020204" pitchFamily="34" charset="-122"/>
                  </a:rPr>
                  <a:t>万台。</a:t>
                </a:r>
                <a:endParaRPr lang="zh-CN" altLang="en-US" sz="1200" dirty="0">
                  <a:solidFill>
                    <a:schemeClr val="tx1"/>
                  </a:solidFill>
                  <a:latin typeface="微软雅黑" panose="020B0503020204020204" pitchFamily="34" charset="-122"/>
                  <a:ea typeface="微软雅黑" panose="020B0503020204020204" pitchFamily="34" charset="-122"/>
                </a:endParaRPr>
              </a:p>
              <a:p>
                <a:pPr marL="285750" indent="-285750" fontAlgn="auto">
                  <a:lnSpc>
                    <a:spcPts val="18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盲目大量使用全身性止血药物，尤其是对有高凝状态的机体如高龄、 肥胖、合并有糖尿病、高血脂等病人应用，则会明显增加深静脉血栓形成的发生率。对恶性肿瘤或脾切除术的病人应用止血药物亦应持慎重态度</a:t>
                </a:r>
                <a:r>
                  <a:rPr lang="zh-CN" altLang="en-US" sz="1200" baseline="30000" dirty="0">
                    <a:latin typeface="微软雅黑" panose="020B0503020204020204" pitchFamily="34" charset="-122"/>
                    <a:ea typeface="微软雅黑" panose="020B0503020204020204" pitchFamily="34" charset="-122"/>
                  </a:rPr>
                  <a:t>7</a:t>
                </a:r>
                <a:r>
                  <a:rPr lang="zh-CN" altLang="en-US"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grpSp>
        <p:sp>
          <p:nvSpPr>
            <p:cNvPr id="10" name="矩形 9"/>
            <p:cNvSpPr/>
            <p:nvPr>
              <p:custDataLst>
                <p:tags r:id="rId14"/>
              </p:custDataLst>
            </p:nvPr>
          </p:nvSpPr>
          <p:spPr>
            <a:xfrm>
              <a:off x="6331236" y="4658645"/>
              <a:ext cx="5161280" cy="1203325"/>
            </a:xfrm>
            <a:prstGeom prst="rect">
              <a:avLst/>
            </a:prstGeom>
          </p:spPr>
          <p:txBody>
            <a:bodyPr wrap="square">
              <a:noAutofit/>
            </a:bodyPr>
            <a:lstStyle/>
            <a:p>
              <a:pPr marL="285750" indent="-285750">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国内现有局部止血产品疗效和安全性各有不足：如可吸收止血耗材不能完全贴合不规则的创面，易脱落，且不适用于自身凝血功能障碍、缺少凝血成分的患者；凝血酶制剂在出血部位易被冲走，难以快速有效止血；人源纤维蛋白粘合剂产品供应受限、传染病风险难以控制。</a:t>
              </a:r>
              <a:endParaRPr lang="zh-CN" altLang="en-US" sz="1200" dirty="0">
                <a:latin typeface="微软雅黑" panose="020B0503020204020204" pitchFamily="34" charset="-122"/>
                <a:ea typeface="微软雅黑" panose="020B0503020204020204" pitchFamily="34" charset="-122"/>
              </a:endParaRPr>
            </a:p>
          </p:txBody>
        </p:sp>
      </p:grpSp>
      <p:sp>
        <p:nvSpPr>
          <p:cNvPr id="31" name="文本占位符 9"/>
          <p:cNvSpPr txBox="1"/>
          <p:nvPr/>
        </p:nvSpPr>
        <p:spPr>
          <a:xfrm>
            <a:off x="157715" y="5996226"/>
            <a:ext cx="12192000" cy="861774"/>
          </a:xfrm>
          <a:prstGeom prst="rect">
            <a:avLst/>
          </a:prstGeom>
        </p:spPr>
        <p:txBody>
          <a:bodyPr vert="horz" wrap="square" lIns="0" tIns="0" rIns="0" bIns="0" numCol="1" rtlCol="0">
            <a:spAutoFit/>
          </a:bodyPr>
          <a:lstStyle>
            <a:lvl1pPr marL="171450" indent="-171450" algn="l" defTabSz="914400" rtl="0" eaLnBrk="1" latinLnBrk="0" hangingPunct="1">
              <a:lnSpc>
                <a:spcPct val="100000"/>
              </a:lnSpc>
              <a:spcBef>
                <a:spcPts val="0"/>
              </a:spcBef>
              <a:spcAft>
                <a:spcPts val="600"/>
              </a:spcAft>
              <a:buClr>
                <a:srgbClr val="4C4948"/>
              </a:buClr>
              <a:buFont typeface="Arial" panose="020B0604020202020204" pitchFamily="34" charset="0"/>
              <a:buChar char="•"/>
              <a:defRPr kumimoji="1" sz="14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457200" indent="0" algn="l" defTabSz="914400" rtl="0" eaLnBrk="1" latinLnBrk="0" hangingPunct="1">
              <a:lnSpc>
                <a:spcPts val="1800"/>
              </a:lnSpc>
              <a:spcBef>
                <a:spcPts val="0"/>
              </a:spcBef>
              <a:buClr>
                <a:srgbClr val="4C4948"/>
              </a:buClr>
              <a:buFont typeface="Arial" panose="020B0604020202020204" pitchFamily="34" charset="0"/>
              <a:buNone/>
              <a:defRPr kumimoji="1" sz="14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914400" indent="0" algn="l" defTabSz="914400" rtl="0" eaLnBrk="1" latinLnBrk="0" hangingPunct="1">
              <a:lnSpc>
                <a:spcPts val="1800"/>
              </a:lnSpc>
              <a:spcBef>
                <a:spcPts val="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370965" indent="0" algn="l" defTabSz="914400" rtl="0" eaLnBrk="1" latinLnBrk="0" hangingPunct="1">
              <a:lnSpc>
                <a:spcPts val="1800"/>
              </a:lnSpc>
              <a:spcBef>
                <a:spcPts val="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1828165" indent="0" algn="l" defTabSz="914400" rtl="0" eaLnBrk="1" latinLnBrk="0" hangingPunct="1">
              <a:lnSpc>
                <a:spcPts val="1800"/>
              </a:lnSpc>
              <a:spcBef>
                <a:spcPts val="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spcAft>
                <a:spcPts val="0"/>
              </a:spcAft>
              <a:buFont typeface="Arial" panose="020B0604020202020204" pitchFamily="34" charset="0"/>
              <a:buNone/>
            </a:pPr>
            <a:r>
              <a:rPr lang="en-US" altLang="zh-CN" sz="800" dirty="0">
                <a:latin typeface="微软雅黑" panose="020B0503020204020204" pitchFamily="34" charset="-122"/>
                <a:ea typeface="微软雅黑" panose="020B0503020204020204" pitchFamily="34" charset="-122"/>
              </a:rPr>
              <a:t>1.</a:t>
            </a:r>
            <a:r>
              <a:rPr lang="zh-CN" altLang="en-US" sz="800" dirty="0">
                <a:latin typeface="微软雅黑" panose="020B0503020204020204" pitchFamily="34" charset="-122"/>
                <a:ea typeface="微软雅黑" panose="020B0503020204020204" pitchFamily="34" charset="-122"/>
              </a:rPr>
              <a:t>中国健康促进基金会医药知识管理专项基金专家委员会</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中国药师协会围手术期用药工作委员会</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中国心胸血管麻醉学会心血管药学分会</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等</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围手术期止血药物的选择与药学监护专家共识</a:t>
            </a:r>
            <a:r>
              <a:rPr lang="en-US" altLang="zh-CN" sz="800" dirty="0">
                <a:latin typeface="微软雅黑" panose="020B0503020204020204" pitchFamily="34" charset="-122"/>
                <a:ea typeface="微软雅黑" panose="020B0503020204020204" pitchFamily="34" charset="-122"/>
              </a:rPr>
              <a:t>[J].</a:t>
            </a:r>
            <a:r>
              <a:rPr lang="zh-CN" altLang="en-US" sz="800" dirty="0">
                <a:latin typeface="微软雅黑" panose="020B0503020204020204" pitchFamily="34" charset="-122"/>
                <a:ea typeface="微软雅黑" panose="020B0503020204020204" pitchFamily="34" charset="-122"/>
              </a:rPr>
              <a:t>医药导报</a:t>
            </a:r>
            <a:r>
              <a:rPr lang="en-US" altLang="zh-CN" sz="800" dirty="0">
                <a:latin typeface="微软雅黑" panose="020B0503020204020204" pitchFamily="34" charset="-122"/>
                <a:ea typeface="微软雅黑" panose="020B0503020204020204" pitchFamily="34" charset="-122"/>
              </a:rPr>
              <a:t>,2025,44(01):7-23.</a:t>
            </a:r>
            <a:endParaRPr lang="en-US" altLang="zh-CN" sz="800" dirty="0">
              <a:latin typeface="微软雅黑" panose="020B0503020204020204" pitchFamily="34" charset="-122"/>
              <a:ea typeface="微软雅黑" panose="020B0503020204020204" pitchFamily="34" charset="-122"/>
            </a:endParaRPr>
          </a:p>
          <a:p>
            <a:pPr marL="0" indent="0">
              <a:spcAft>
                <a:spcPts val="0"/>
              </a:spcAft>
              <a:buFont typeface="Arial" panose="020B0604020202020204" pitchFamily="34" charset="0"/>
              <a:buNone/>
            </a:pPr>
            <a:r>
              <a:rPr lang="en-US" altLang="zh-CN" sz="800" dirty="0">
                <a:latin typeface="微软雅黑" panose="020B0503020204020204" pitchFamily="34" charset="-122"/>
                <a:ea typeface="微软雅黑" panose="020B0503020204020204" pitchFamily="34" charset="-122"/>
              </a:rPr>
              <a:t>2.Corral M, </a:t>
            </a:r>
            <a:r>
              <a:rPr lang="en-US" altLang="zh-CN" sz="800" dirty="0" err="1">
                <a:latin typeface="微软雅黑" panose="020B0503020204020204" pitchFamily="34" charset="-122"/>
                <a:ea typeface="微软雅黑" panose="020B0503020204020204" pitchFamily="34" charset="-122"/>
              </a:rPr>
              <a:t>Ferko</a:t>
            </a:r>
            <a:r>
              <a:rPr lang="en-US" altLang="zh-CN" sz="800" dirty="0">
                <a:latin typeface="微软雅黑" panose="020B0503020204020204" pitchFamily="34" charset="-122"/>
                <a:ea typeface="微软雅黑" panose="020B0503020204020204" pitchFamily="34" charset="-122"/>
              </a:rPr>
              <a:t> N, Hollmann S, Broder MS, Chang E. Health and economic outcomes associated with uncontrolled surgical bleeding: a retrospective analysis of the Premier Perspectives Database. </a:t>
            </a:r>
            <a:r>
              <a:rPr lang="en-US" altLang="zh-CN" sz="800" dirty="0" err="1">
                <a:latin typeface="微软雅黑" panose="020B0503020204020204" pitchFamily="34" charset="-122"/>
                <a:ea typeface="微软雅黑" panose="020B0503020204020204" pitchFamily="34" charset="-122"/>
              </a:rPr>
              <a:t>Clinicoecon</a:t>
            </a:r>
            <a:r>
              <a:rPr lang="en-US" altLang="zh-CN" sz="800" dirty="0">
                <a:latin typeface="微软雅黑" panose="020B0503020204020204" pitchFamily="34" charset="-122"/>
                <a:ea typeface="微软雅黑" panose="020B0503020204020204" pitchFamily="34" charset="-122"/>
              </a:rPr>
              <a:t> Outcomes Res. 2015;7:409-421. </a:t>
            </a:r>
            <a:endParaRPr lang="en-US" altLang="zh-CN" sz="800" dirty="0">
              <a:latin typeface="微软雅黑" panose="020B0503020204020204" pitchFamily="34" charset="-122"/>
              <a:ea typeface="微软雅黑" panose="020B0503020204020204" pitchFamily="34" charset="-122"/>
            </a:endParaRPr>
          </a:p>
          <a:p>
            <a:pPr marL="0" indent="0">
              <a:spcAft>
                <a:spcPts val="0"/>
              </a:spcAft>
              <a:buFont typeface="Arial" panose="020B0604020202020204" pitchFamily="34" charset="0"/>
              <a:buNone/>
            </a:pPr>
            <a:r>
              <a:rPr lang="en-US" altLang="zh-CN" sz="800" dirty="0">
                <a:latin typeface="微软雅黑" panose="020B0503020204020204" pitchFamily="34" charset="-122"/>
                <a:ea typeface="微软雅黑" panose="020B0503020204020204" pitchFamily="34" charset="-122"/>
              </a:rPr>
              <a:t>3.Michael E Stokes</a:t>
            </a:r>
            <a:r>
              <a:rPr lang="zh-CN" altLang="en-US" sz="800" dirty="0">
                <a:latin typeface="微软雅黑" panose="020B0503020204020204" pitchFamily="34" charset="-122"/>
                <a:ea typeface="微软雅黑" panose="020B0503020204020204" pitchFamily="34" charset="-122"/>
              </a:rPr>
              <a:t>， </a:t>
            </a:r>
            <a:r>
              <a:rPr lang="en-US" altLang="zh-CN" sz="800" dirty="0">
                <a:latin typeface="微软雅黑" panose="020B0503020204020204" pitchFamily="34" charset="-122"/>
                <a:ea typeface="微软雅黑" panose="020B0503020204020204" pitchFamily="34" charset="-122"/>
              </a:rPr>
              <a:t>Impact of bleeding-related complications and/or blood product transfusions on hospital costs in inpatient surgical patients [J]. Stokes et al. BMC Health Services Research 2011, 11:135 </a:t>
            </a:r>
            <a:endParaRPr lang="en-US" altLang="zh-CN" sz="800" dirty="0">
              <a:latin typeface="微软雅黑" panose="020B0503020204020204" pitchFamily="34" charset="-122"/>
              <a:ea typeface="微软雅黑" panose="020B0503020204020204" pitchFamily="34" charset="-122"/>
            </a:endParaRPr>
          </a:p>
          <a:p>
            <a:pPr marL="0" indent="0">
              <a:spcAft>
                <a:spcPts val="0"/>
              </a:spcAft>
              <a:buFont typeface="Arial" panose="020B0604020202020204" pitchFamily="34" charset="0"/>
              <a:buNone/>
            </a:pPr>
            <a:r>
              <a:rPr lang="en-US" altLang="zh-CN" sz="800" dirty="0">
                <a:latin typeface="微软雅黑" panose="020B0503020204020204" pitchFamily="34" charset="-122"/>
                <a:ea typeface="微软雅黑" panose="020B0503020204020204" pitchFamily="34" charset="-122"/>
              </a:rPr>
              <a:t>4.</a:t>
            </a:r>
            <a:r>
              <a:rPr lang="zh-CN" altLang="en-US" sz="800" dirty="0">
                <a:latin typeface="微软雅黑" panose="020B0503020204020204" pitchFamily="34" charset="-122"/>
                <a:ea typeface="微软雅黑" panose="020B0503020204020204" pitchFamily="34" charset="-122"/>
              </a:rPr>
              <a:t>王炳煌</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胰腺手术术后创面渗血的处理</a:t>
            </a:r>
            <a:r>
              <a:rPr lang="en-US" altLang="zh-CN" sz="800" dirty="0">
                <a:latin typeface="微软雅黑" panose="020B0503020204020204" pitchFamily="34" charset="-122"/>
                <a:ea typeface="微软雅黑" panose="020B0503020204020204" pitchFamily="34" charset="-122"/>
              </a:rPr>
              <a:t>[J].</a:t>
            </a:r>
            <a:r>
              <a:rPr lang="zh-CN" altLang="en-US" sz="800" dirty="0">
                <a:latin typeface="微软雅黑" panose="020B0503020204020204" pitchFamily="34" charset="-122"/>
                <a:ea typeface="微软雅黑" panose="020B0503020204020204" pitchFamily="34" charset="-122"/>
              </a:rPr>
              <a:t>中国现代手术学杂志</a:t>
            </a:r>
            <a:r>
              <a:rPr lang="en-US" altLang="zh-CN" sz="800" dirty="0">
                <a:latin typeface="微软雅黑" panose="020B0503020204020204" pitchFamily="34" charset="-122"/>
                <a:ea typeface="微软雅黑" panose="020B0503020204020204" pitchFamily="34" charset="-122"/>
              </a:rPr>
              <a:t>, 2004, 8(4):202-202.</a:t>
            </a:r>
            <a:endParaRPr lang="en-US" altLang="zh-CN" sz="800" dirty="0">
              <a:latin typeface="微软雅黑" panose="020B0503020204020204" pitchFamily="34" charset="-122"/>
              <a:ea typeface="微软雅黑" panose="020B0503020204020204" pitchFamily="34" charset="-122"/>
            </a:endParaRPr>
          </a:p>
          <a:p>
            <a:pPr marL="0" indent="0">
              <a:spcAft>
                <a:spcPts val="0"/>
              </a:spcAft>
              <a:buFont typeface="Arial" panose="020B0604020202020204" pitchFamily="34" charset="0"/>
              <a:buNone/>
            </a:pPr>
            <a:r>
              <a:rPr lang="en-US" altLang="zh-CN" sz="800" dirty="0">
                <a:latin typeface="微软雅黑" panose="020B0503020204020204" pitchFamily="34" charset="-122"/>
                <a:ea typeface="微软雅黑" panose="020B0503020204020204" pitchFamily="34" charset="-122"/>
              </a:rPr>
              <a:t>5.</a:t>
            </a:r>
            <a:r>
              <a:rPr lang="zh-CN" altLang="en-US" sz="800" dirty="0">
                <a:latin typeface="微软雅黑" panose="020B0503020204020204" pitchFamily="34" charset="-122"/>
                <a:ea typeface="微软雅黑" panose="020B0503020204020204" pitchFamily="34" charset="-122"/>
              </a:rPr>
              <a:t>王继红</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许文英</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李永</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等</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凝血酶用于扁桃体术后创面渗血</a:t>
            </a:r>
            <a:r>
              <a:rPr lang="en-US" altLang="zh-CN" sz="800" dirty="0">
                <a:latin typeface="微软雅黑" panose="020B0503020204020204" pitchFamily="34" charset="-122"/>
                <a:ea typeface="微软雅黑" panose="020B0503020204020204" pitchFamily="34" charset="-122"/>
              </a:rPr>
              <a:t>73</a:t>
            </a:r>
            <a:r>
              <a:rPr lang="zh-CN" altLang="en-US" sz="800" dirty="0">
                <a:latin typeface="微软雅黑" panose="020B0503020204020204" pitchFamily="34" charset="-122"/>
                <a:ea typeface="微软雅黑" panose="020B0503020204020204" pitchFamily="34" charset="-122"/>
              </a:rPr>
              <a:t>例临床观察</a:t>
            </a:r>
            <a:r>
              <a:rPr lang="en-US" altLang="zh-CN" sz="800" dirty="0">
                <a:latin typeface="微软雅黑" panose="020B0503020204020204" pitchFamily="34" charset="-122"/>
                <a:ea typeface="微软雅黑" panose="020B0503020204020204" pitchFamily="34" charset="-122"/>
              </a:rPr>
              <a:t>[J].</a:t>
            </a:r>
            <a:r>
              <a:rPr lang="zh-CN" altLang="en-US" sz="800" dirty="0">
                <a:latin typeface="微软雅黑" panose="020B0503020204020204" pitchFamily="34" charset="-122"/>
                <a:ea typeface="微软雅黑" panose="020B0503020204020204" pitchFamily="34" charset="-122"/>
              </a:rPr>
              <a:t>沈阳部队医药</a:t>
            </a:r>
            <a:r>
              <a:rPr lang="en-US" altLang="zh-CN" sz="800" dirty="0">
                <a:latin typeface="微软雅黑" panose="020B0503020204020204" pitchFamily="34" charset="-122"/>
                <a:ea typeface="微软雅黑" panose="020B0503020204020204" pitchFamily="34" charset="-122"/>
              </a:rPr>
              <a:t>, 1997, 10(6):1.</a:t>
            </a:r>
            <a:endParaRPr lang="en-US" altLang="zh-CN" sz="800" dirty="0">
              <a:latin typeface="微软雅黑" panose="020B0503020204020204" pitchFamily="34" charset="-122"/>
              <a:ea typeface="微软雅黑" panose="020B0503020204020204" pitchFamily="34" charset="-122"/>
            </a:endParaRPr>
          </a:p>
          <a:p>
            <a:pPr marL="0" indent="0">
              <a:spcAft>
                <a:spcPts val="0"/>
              </a:spcAft>
              <a:buFont typeface="Arial" panose="020B0604020202020204" pitchFamily="34" charset="0"/>
              <a:buNone/>
            </a:pPr>
            <a:r>
              <a:rPr lang="en-US" altLang="zh-CN" sz="800" dirty="0">
                <a:latin typeface="微软雅黑" panose="020B0503020204020204" pitchFamily="34" charset="-122"/>
                <a:ea typeface="微软雅黑" panose="020B0503020204020204" pitchFamily="34" charset="-122"/>
              </a:rPr>
              <a:t>6.</a:t>
            </a:r>
            <a:r>
              <a:rPr lang="zh-CN" altLang="en-US" sz="800" dirty="0">
                <a:latin typeface="微软雅黑" panose="020B0503020204020204" pitchFamily="34" charset="-122"/>
                <a:ea typeface="微软雅黑" panose="020B0503020204020204" pitchFamily="34" charset="-122"/>
              </a:rPr>
              <a:t>中华医学会胸心血管外科学分会</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心脏大血管外科止血材料、药物及血液制品应用专家共识</a:t>
            </a:r>
            <a:r>
              <a:rPr lang="en-US" altLang="zh-CN" sz="800" dirty="0">
                <a:latin typeface="微软雅黑" panose="020B0503020204020204" pitchFamily="34" charset="-122"/>
                <a:ea typeface="微软雅黑" panose="020B0503020204020204" pitchFamily="34" charset="-122"/>
              </a:rPr>
              <a:t>[J].</a:t>
            </a:r>
            <a:r>
              <a:rPr lang="zh-CN" altLang="en-US" sz="800" dirty="0">
                <a:latin typeface="微软雅黑" panose="020B0503020204020204" pitchFamily="34" charset="-122"/>
                <a:ea typeface="微软雅黑" panose="020B0503020204020204" pitchFamily="34" charset="-122"/>
              </a:rPr>
              <a:t>中华胸心血管外科杂志</a:t>
            </a:r>
            <a:r>
              <a:rPr lang="en-US" altLang="zh-CN" sz="800" dirty="0">
                <a:latin typeface="微软雅黑" panose="020B0503020204020204" pitchFamily="34" charset="-122"/>
                <a:ea typeface="微软雅黑" panose="020B0503020204020204" pitchFamily="34" charset="-122"/>
              </a:rPr>
              <a:t>,2022,38(9):513-535. </a:t>
            </a:r>
            <a:endParaRPr lang="en-US" altLang="zh-CN" sz="800" dirty="0">
              <a:latin typeface="微软雅黑" panose="020B0503020204020204" pitchFamily="34" charset="-122"/>
              <a:ea typeface="微软雅黑" panose="020B0503020204020204" pitchFamily="34" charset="-122"/>
            </a:endParaRPr>
          </a:p>
          <a:p>
            <a:pPr marL="0" indent="0">
              <a:spcAft>
                <a:spcPts val="0"/>
              </a:spcAft>
              <a:buFont typeface="Arial" panose="020B0604020202020204" pitchFamily="34" charset="0"/>
              <a:buNone/>
            </a:pPr>
            <a:r>
              <a:rPr lang="en-US" altLang="zh-CN" sz="800" dirty="0">
                <a:latin typeface="微软雅黑" panose="020B0503020204020204" pitchFamily="34" charset="-122"/>
                <a:ea typeface="微软雅黑" panose="020B0503020204020204" pitchFamily="34" charset="-122"/>
              </a:rPr>
              <a:t>7.</a:t>
            </a:r>
            <a:r>
              <a:rPr lang="zh-CN" altLang="en-US" sz="800" dirty="0">
                <a:latin typeface="微软雅黑" panose="020B0503020204020204" pitchFamily="34" charset="-122"/>
                <a:ea typeface="微软雅黑" panose="020B0503020204020204" pitchFamily="34" charset="-122"/>
              </a:rPr>
              <a:t>蔡建强</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重大手术后应用止血药物与防止高凝栓塞的关系</a:t>
            </a:r>
            <a:r>
              <a:rPr lang="en-US" altLang="zh-CN" sz="800" dirty="0">
                <a:latin typeface="微软雅黑" panose="020B0503020204020204" pitchFamily="34" charset="-122"/>
                <a:ea typeface="微软雅黑" panose="020B0503020204020204" pitchFamily="34" charset="-122"/>
              </a:rPr>
              <a:t>[J]</a:t>
            </a:r>
            <a:r>
              <a:rPr lang="zh-CN" altLang="en-US" sz="800" dirty="0">
                <a:latin typeface="微软雅黑" panose="020B0503020204020204" pitchFamily="34" charset="-122"/>
                <a:ea typeface="微软雅黑" panose="020B0503020204020204" pitchFamily="34" charset="-122"/>
              </a:rPr>
              <a:t>中国实用外科杂志 </a:t>
            </a:r>
            <a:r>
              <a:rPr lang="en-US" altLang="zh-CN" sz="800" dirty="0">
                <a:latin typeface="微软雅黑" panose="020B0503020204020204" pitchFamily="34" charset="-122"/>
                <a:ea typeface="微软雅黑" panose="020B0503020204020204" pitchFamily="34" charset="-122"/>
              </a:rPr>
              <a:t>2010 </a:t>
            </a:r>
            <a:r>
              <a:rPr lang="zh-CN" altLang="en-US" sz="800" dirty="0">
                <a:latin typeface="微软雅黑" panose="020B0503020204020204" pitchFamily="34" charset="-122"/>
                <a:ea typeface="微软雅黑" panose="020B0503020204020204" pitchFamily="34" charset="-122"/>
              </a:rPr>
              <a:t>年</a:t>
            </a:r>
            <a:r>
              <a:rPr lang="en-US" altLang="zh-CN" sz="800" dirty="0">
                <a:latin typeface="微软雅黑" panose="020B0503020204020204" pitchFamily="34" charset="-122"/>
                <a:ea typeface="微软雅黑" panose="020B0503020204020204" pitchFamily="34" charset="-122"/>
              </a:rPr>
              <a:t>2 </a:t>
            </a:r>
            <a:r>
              <a:rPr lang="zh-CN" altLang="en-US" sz="800" dirty="0">
                <a:latin typeface="微软雅黑" panose="020B0503020204020204" pitchFamily="34" charset="-122"/>
                <a:ea typeface="微软雅黑" panose="020B0503020204020204" pitchFamily="34" charset="-122"/>
              </a:rPr>
              <a:t>月 第 </a:t>
            </a:r>
            <a:r>
              <a:rPr lang="en-US" altLang="zh-CN" sz="800" dirty="0">
                <a:latin typeface="微软雅黑" panose="020B0503020204020204" pitchFamily="34" charset="-122"/>
                <a:ea typeface="微软雅黑" panose="020B0503020204020204" pitchFamily="34" charset="-122"/>
              </a:rPr>
              <a:t>30 </a:t>
            </a:r>
            <a:r>
              <a:rPr lang="zh-CN" altLang="en-US" sz="800" dirty="0">
                <a:latin typeface="微软雅黑" panose="020B0503020204020204" pitchFamily="34" charset="-122"/>
                <a:ea typeface="微软雅黑" panose="020B0503020204020204" pitchFamily="34" charset="-122"/>
              </a:rPr>
              <a:t>卷 第 </a:t>
            </a:r>
            <a:r>
              <a:rPr lang="en-US" altLang="zh-CN" sz="800" dirty="0">
                <a:latin typeface="微软雅黑" panose="020B0503020204020204" pitchFamily="34" charset="-122"/>
                <a:ea typeface="微软雅黑" panose="020B0503020204020204" pitchFamily="34" charset="-122"/>
              </a:rPr>
              <a:t>2 </a:t>
            </a:r>
            <a:r>
              <a:rPr lang="zh-CN" altLang="en-US" sz="800" dirty="0">
                <a:latin typeface="微软雅黑" panose="020B0503020204020204" pitchFamily="34" charset="-122"/>
                <a:ea typeface="微软雅黑" panose="020B0503020204020204" pitchFamily="34" charset="-122"/>
              </a:rPr>
              <a:t>期，</a:t>
            </a:r>
            <a:r>
              <a:rPr lang="en-US" altLang="zh-CN" sz="800" dirty="0">
                <a:latin typeface="微软雅黑" panose="020B0503020204020204" pitchFamily="34" charset="-122"/>
                <a:ea typeface="微软雅黑" panose="020B0503020204020204" pitchFamily="34" charset="-122"/>
              </a:rPr>
              <a:t>152</a:t>
            </a:r>
            <a:endParaRPr lang="zh-CN" altLang="en-US" sz="800" dirty="0">
              <a:latin typeface="微软雅黑" panose="020B0503020204020204" pitchFamily="34" charset="-122"/>
              <a:ea typeface="微软雅黑" panose="020B0503020204020204" pitchFamily="34" charset="-122"/>
            </a:endParaRPr>
          </a:p>
        </p:txBody>
      </p:sp>
      <p:cxnSp>
        <p:nvCxnSpPr>
          <p:cNvPr id="15" name="连接符: 肘形 14"/>
          <p:cNvCxnSpPr>
            <a:stCxn id="40" idx="3"/>
            <a:endCxn id="26" idx="1"/>
          </p:cNvCxnSpPr>
          <p:nvPr/>
        </p:nvCxnSpPr>
        <p:spPr>
          <a:xfrm flipV="1">
            <a:off x="2111375" y="1621790"/>
            <a:ext cx="511810" cy="181356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连接符: 肘形 34"/>
          <p:cNvCxnSpPr>
            <a:stCxn id="40" idx="3"/>
            <a:endCxn id="24" idx="1"/>
          </p:cNvCxnSpPr>
          <p:nvPr/>
        </p:nvCxnSpPr>
        <p:spPr>
          <a:xfrm>
            <a:off x="2111375" y="3435350"/>
            <a:ext cx="511810" cy="181864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a:stCxn id="40" idx="3"/>
            <a:endCxn id="19" idx="1"/>
          </p:cNvCxnSpPr>
          <p:nvPr/>
        </p:nvCxnSpPr>
        <p:spPr>
          <a:xfrm>
            <a:off x="2111642" y="3435434"/>
            <a:ext cx="511810" cy="146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直接箭头连接符 41"/>
          <p:cNvCxnSpPr/>
          <p:nvPr>
            <p:custDataLst>
              <p:tags r:id="rId15"/>
            </p:custDataLst>
          </p:nvPr>
        </p:nvCxnSpPr>
        <p:spPr>
          <a:xfrm flipV="1">
            <a:off x="5792278" y="1629153"/>
            <a:ext cx="511829" cy="84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p:nvPr>
            <p:custDataLst>
              <p:tags r:id="rId16"/>
            </p:custDataLst>
          </p:nvPr>
        </p:nvCxnSpPr>
        <p:spPr>
          <a:xfrm flipV="1">
            <a:off x="5780443" y="3436908"/>
            <a:ext cx="511829" cy="84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直接箭头连接符 43"/>
          <p:cNvCxnSpPr/>
          <p:nvPr>
            <p:custDataLst>
              <p:tags r:id="rId17"/>
            </p:custDataLst>
          </p:nvPr>
        </p:nvCxnSpPr>
        <p:spPr>
          <a:xfrm flipV="1">
            <a:off x="5780442" y="5333339"/>
            <a:ext cx="511829" cy="84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3"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药品基本信息</a:t>
            </a:r>
            <a:r>
              <a:rPr lang="zh-CN" altLang="en-US" sz="2700" dirty="0">
                <a:solidFill>
                  <a:srgbClr val="1A1918"/>
                </a:solidFill>
                <a:latin typeface="微软雅黑" panose="020B0503020204020204" pitchFamily="34" charset="-122"/>
                <a:ea typeface="微软雅黑" panose="020B0503020204020204" pitchFamily="34" charset="-122"/>
              </a:rPr>
              <a:t>（有</a:t>
            </a:r>
            <a:r>
              <a:rPr lang="zh-CN" altLang="en-US" sz="2700" dirty="0">
                <a:latin typeface="微软雅黑" panose="020B0503020204020204" pitchFamily="34" charset="-122"/>
                <a:ea typeface="微软雅黑" panose="020B0503020204020204" pitchFamily="34" charset="-122"/>
                <a:sym typeface="+mn-ea"/>
              </a:rPr>
              <a:t>更好、更迅速的局部止血表现</a:t>
            </a:r>
            <a:r>
              <a:rPr lang="zh-CN" altLang="en-US" sz="2700" dirty="0">
                <a:solidFill>
                  <a:srgbClr val="1A1918"/>
                </a:solidFill>
                <a:latin typeface="微软雅黑" panose="020B0503020204020204" pitchFamily="34" charset="-122"/>
                <a:ea typeface="微软雅黑" panose="020B0503020204020204" pitchFamily="34" charset="-122"/>
              </a:rPr>
              <a:t>）</a:t>
            </a:r>
            <a:endParaRPr lang="zh-CN" altLang="en-US" sz="3200" dirty="0">
              <a:solidFill>
                <a:srgbClr val="1A1918"/>
              </a:solidFill>
              <a:latin typeface="微软雅黑" panose="020B0503020204020204" pitchFamily="34" charset="-122"/>
              <a:ea typeface="微软雅黑" panose="020B0503020204020204" pitchFamily="34" charset="-122"/>
            </a:endParaRPr>
          </a:p>
        </p:txBody>
      </p:sp>
      <p:sp>
        <p:nvSpPr>
          <p:cNvPr id="22" name="椭圆 21"/>
          <p:cNvSpPr/>
          <p:nvPr/>
        </p:nvSpPr>
        <p:spPr>
          <a:xfrm>
            <a:off x="616186" y="315174"/>
            <a:ext cx="360000" cy="360000"/>
          </a:xfrm>
          <a:prstGeom prst="ellipse">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1</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606078" y="540725"/>
            <a:ext cx="10778588" cy="829945"/>
          </a:xfrm>
          <a:prstGeom prst="rect">
            <a:avLst/>
          </a:prstGeom>
        </p:spPr>
        <p:txBody>
          <a:bodyPr wrap="square">
            <a:spAutoFit/>
          </a:bodyPr>
          <a:lstStyle/>
          <a:p>
            <a:pPr indent="0">
              <a:lnSpc>
                <a:spcPct val="150000"/>
              </a:lnSpc>
              <a:buFont typeface="Wingdings" panose="05000000000000000000" pitchFamily="2" charset="2"/>
              <a:buNone/>
            </a:pP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根据我们检索，与猪纤维蛋白粘合剂成分一致或相近的有猪源纤维蛋白粘合剂、人纤维蛋白粘合剂和人纤维蛋白原。</a:t>
            </a:r>
            <a:endParaRPr lang="en-US" altLang="zh-CN" sz="1600" dirty="0">
              <a:latin typeface="微软雅黑" panose="020B0503020204020204" pitchFamily="34" charset="-122"/>
              <a:ea typeface="微软雅黑" panose="020B0503020204020204" pitchFamily="34" charset="-122"/>
            </a:endParaRPr>
          </a:p>
        </p:txBody>
      </p:sp>
      <p:sp>
        <p:nvSpPr>
          <p:cNvPr id="5" name="灯片编号占位符 4"/>
          <p:cNvSpPr>
            <a:spLocks noGrp="1"/>
          </p:cNvSpPr>
          <p:nvPr>
            <p:ph type="sldNum" sz="quarter" idx="4"/>
          </p:nvPr>
        </p:nvSpPr>
        <p:spPr/>
        <p:txBody>
          <a:bodyPr/>
          <a:lstStyle/>
          <a:p>
            <a:pPr defTabSz="1218565"/>
            <a:r>
              <a:rPr lang="en-US" altLang="ja-JP" dirty="0"/>
              <a:t>3</a:t>
            </a:r>
            <a:endParaRPr lang="ja-JP" altLang="en-US" dirty="0"/>
          </a:p>
        </p:txBody>
      </p:sp>
      <p:graphicFrame>
        <p:nvGraphicFramePr>
          <p:cNvPr id="4" name="表格 3"/>
          <p:cNvGraphicFramePr>
            <a:graphicFrameLocks noGrp="1"/>
          </p:cNvGraphicFramePr>
          <p:nvPr/>
        </p:nvGraphicFramePr>
        <p:xfrm>
          <a:off x="327025" y="1431924"/>
          <a:ext cx="11621135" cy="4079240"/>
        </p:xfrm>
        <a:graphic>
          <a:graphicData uri="http://schemas.openxmlformats.org/drawingml/2006/table">
            <a:tbl>
              <a:tblPr firstRow="1" bandRow="1">
                <a:tableStyleId>{5C22544A-7EE6-4342-B048-85BDC9FD1C3A}</a:tableStyleId>
              </a:tblPr>
              <a:tblGrid>
                <a:gridCol w="2902268"/>
                <a:gridCol w="1835468"/>
                <a:gridCol w="1835468"/>
                <a:gridCol w="1843405"/>
                <a:gridCol w="2215299"/>
                <a:gridCol w="989150"/>
              </a:tblGrid>
              <a:tr h="370840">
                <a:tc>
                  <a:txBody>
                    <a:bodyPr/>
                    <a:lstStyle/>
                    <a:p>
                      <a:pPr algn="ctr"/>
                      <a:r>
                        <a:rPr lang="zh-CN" altLang="en-US" sz="1400" dirty="0">
                          <a:latin typeface="微软雅黑" panose="020B0503020204020204" pitchFamily="34" charset="-122"/>
                          <a:ea typeface="微软雅黑" panose="020B0503020204020204" pitchFamily="34" charset="-122"/>
                        </a:rPr>
                        <a:t>生产企业</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通用名</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原料</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规格</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主要成分</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目录情况</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lang="zh-CN" altLang="en-US" sz="1400" dirty="0">
                          <a:latin typeface="微软雅黑" panose="020B0503020204020204" pitchFamily="34" charset="-122"/>
                          <a:ea typeface="微软雅黑" panose="020B0503020204020204" pitchFamily="34" charset="-122"/>
                        </a:rPr>
                        <a:t>上海利康瑞生物工程有限公司</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猪纤维蛋白粘合剂</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单采</a:t>
                      </a:r>
                      <a:r>
                        <a:rPr lang="zh-CN" altLang="en-US" sz="1400" dirty="0">
                          <a:latin typeface="微软雅黑" panose="020B0503020204020204" pitchFamily="34" charset="-122"/>
                          <a:ea typeface="微软雅黑" panose="020B0503020204020204" pitchFamily="34" charset="-122"/>
                        </a:rPr>
                        <a:t>猪血浆</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2.5ml</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sym typeface="+mn-ea"/>
                        </a:rPr>
                        <a:t>1.5ml</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纤维蛋白原</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凝血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不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fontAlgn="ctr" latinLnBrk="1"/>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广州倍绣生物技术有限公司</a:t>
                      </a:r>
                      <a:endParaRPr lang="zh-CN" altLang="en-US" sz="1400" dirty="0">
                        <a:effectLst/>
                        <a:latin typeface="微软雅黑" panose="020B0503020204020204" pitchFamily="34" charset="-122"/>
                        <a:ea typeface="微软雅黑" panose="020B0503020204020204" pitchFamily="34" charset="-122"/>
                      </a:endParaRPr>
                    </a:p>
                  </a:txBody>
                  <a:tcPr marL="0" marR="0" marT="53340" marB="53340" anchor="ctr"/>
                </a:tc>
                <a:tc>
                  <a:txBody>
                    <a:bodyPr/>
                    <a:lstStyle/>
                    <a:p>
                      <a:pPr marL="0" marR="0" lvl="0" indent="0" algn="ctr" defTabSz="914400" rtl="0" eaLnBrk="1" fontAlgn="ctr" latinLnBrk="1" hangingPunct="1">
                        <a:lnSpc>
                          <a:spcPct val="100000"/>
                        </a:lnSpc>
                        <a:spcBef>
                          <a:spcPts val="0"/>
                        </a:spcBef>
                        <a:spcAft>
                          <a:spcPts val="0"/>
                        </a:spcAft>
                        <a:buClrTx/>
                        <a:buSzTx/>
                        <a:buFontTx/>
                        <a:buNone/>
                        <a:defRPr/>
                      </a:pPr>
                      <a:r>
                        <a:rPr lang="zh-CN" altLang="en-US" sz="1400" dirty="0">
                          <a:effectLst/>
                          <a:latin typeface="微软雅黑" panose="020B0503020204020204" pitchFamily="34" charset="-122"/>
                          <a:ea typeface="微软雅黑" panose="020B0503020204020204" pitchFamily="34" charset="-122"/>
                        </a:rPr>
                        <a:t>猪源纤维蛋白粘合剂</a:t>
                      </a:r>
                      <a:endParaRPr lang="zh-CN" altLang="en-US" sz="1400" dirty="0">
                        <a:effectLst/>
                        <a:latin typeface="微软雅黑" panose="020B0503020204020204" pitchFamily="34" charset="-122"/>
                        <a:ea typeface="微软雅黑" panose="020B0503020204020204" pitchFamily="34" charset="-122"/>
                      </a:endParaRPr>
                    </a:p>
                  </a:txBody>
                  <a:tcPr marL="0" marR="0" marT="53340" marB="53340" anchor="ctr"/>
                </a:tc>
                <a:tc>
                  <a:txBody>
                    <a:bodyPr/>
                    <a:lstStyle/>
                    <a:p>
                      <a:pPr algn="ctr"/>
                      <a:r>
                        <a:rPr lang="zh-CN" altLang="en-US" sz="1400" dirty="0">
                          <a:latin typeface="微软雅黑" panose="020B0503020204020204" pitchFamily="34" charset="-122"/>
                          <a:ea typeface="微软雅黑" panose="020B0503020204020204" pitchFamily="34" charset="-122"/>
                        </a:rPr>
                        <a:t>猪全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1.5ml</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5ml</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5ml</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纤维蛋白原</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凝血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不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effectLst/>
                          <a:latin typeface="微软雅黑" panose="020B0503020204020204" pitchFamily="34" charset="-122"/>
                          <a:ea typeface="微软雅黑" panose="020B0503020204020204" pitchFamily="34" charset="-122"/>
                        </a:rPr>
                        <a:t>哈尔滨瀚邦医疗科技有限公司</a:t>
                      </a:r>
                      <a:endParaRPr lang="zh-CN" altLang="en-US" sz="1400" dirty="0">
                        <a:effectLst/>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effectLst/>
                          <a:latin typeface="微软雅黑" panose="020B0503020204020204" pitchFamily="34" charset="-122"/>
                          <a:ea typeface="微软雅黑" panose="020B0503020204020204" pitchFamily="34" charset="-122"/>
                        </a:rPr>
                        <a:t>猪源纤维蛋白粘合剂</a:t>
                      </a:r>
                      <a:endParaRPr lang="zh-CN" altLang="en-US" sz="1400" dirty="0">
                        <a:effectLst/>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猪全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5ml-5ml</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纤维蛋白原</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凝血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不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浙江赛灵特医药科技有限公司</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effectLst/>
                          <a:latin typeface="微软雅黑" panose="020B0503020204020204" pitchFamily="34" charset="-122"/>
                          <a:ea typeface="微软雅黑" panose="020B0503020204020204" pitchFamily="34" charset="-122"/>
                        </a:rPr>
                        <a:t>猪源纤维蛋白粘合剂</a:t>
                      </a:r>
                      <a:endParaRPr lang="zh-CN" altLang="en-US" sz="1400" dirty="0">
                        <a:effectLst/>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猪全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5ml</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5ml</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纤维蛋白原</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凝血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不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上海莱士血液制品股份有限公司</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纤维蛋白粘合剂</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2ml</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纤维蛋白原</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凝血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不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华兰生物工程股份有限公司</a:t>
                      </a:r>
                      <a:endPar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0.5g/</a:t>
                      </a:r>
                      <a:r>
                        <a:rPr lang="zh-CN" altLang="en-US" sz="1400" dirty="0">
                          <a:latin typeface="微软雅黑" panose="020B0503020204020204" pitchFamily="34" charset="-122"/>
                          <a:ea typeface="微软雅黑" panose="020B0503020204020204" pitchFamily="34" charset="-122"/>
                        </a:rPr>
                        <a:t>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上海莱士血液制品股份有限公司</a:t>
                      </a:r>
                      <a:endPar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0.5g/</a:t>
                      </a:r>
                      <a:r>
                        <a:rPr lang="zh-CN" altLang="en-US" sz="1400" dirty="0">
                          <a:latin typeface="微软雅黑" panose="020B0503020204020204" pitchFamily="34" charset="-122"/>
                          <a:ea typeface="微软雅黑" panose="020B0503020204020204" pitchFamily="34" charset="-122"/>
                        </a:rPr>
                        <a:t>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绿十字（中国）生物制品有限公司</a:t>
                      </a:r>
                      <a:endPar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0.5g/</a:t>
                      </a:r>
                      <a:r>
                        <a:rPr lang="zh-CN" altLang="en-US" sz="1400" dirty="0">
                          <a:latin typeface="微软雅黑" panose="020B0503020204020204" pitchFamily="34" charset="-122"/>
                          <a:ea typeface="微软雅黑" panose="020B0503020204020204" pitchFamily="34" charset="-122"/>
                        </a:rPr>
                        <a:t>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诺一生物医药股份有限公司</a:t>
                      </a:r>
                      <a:endPar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0.5g/</a:t>
                      </a:r>
                      <a:r>
                        <a:rPr lang="zh-CN" altLang="en-US" sz="1400" dirty="0">
                          <a:latin typeface="微软雅黑" panose="020B0503020204020204" pitchFamily="34" charset="-122"/>
                          <a:ea typeface="微软雅黑" panose="020B0503020204020204" pitchFamily="34" charset="-122"/>
                        </a:rPr>
                        <a:t>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在</a:t>
                      </a:r>
                      <a:endParaRPr lang="zh-CN" altLang="en-US" sz="1400" dirty="0">
                        <a:latin typeface="微软雅黑" panose="020B0503020204020204" pitchFamily="34" charset="-122"/>
                        <a:ea typeface="微软雅黑" panose="020B0503020204020204" pitchFamily="34" charset="-122"/>
                      </a:endParaRPr>
                    </a:p>
                  </a:txBody>
                  <a:tcPr anchor="ctr"/>
                </a:tc>
              </a:tr>
            </a:tbl>
          </a:graphicData>
        </a:graphic>
      </p:graphicFrame>
      <p:sp>
        <p:nvSpPr>
          <p:cNvPr id="10" name="矩形 9"/>
          <p:cNvSpPr/>
          <p:nvPr/>
        </p:nvSpPr>
        <p:spPr>
          <a:xfrm>
            <a:off x="605790" y="5253990"/>
            <a:ext cx="10778490" cy="1155065"/>
          </a:xfrm>
          <a:prstGeom prst="rect">
            <a:avLst/>
          </a:prstGeom>
        </p:spPr>
        <p:txBody>
          <a:bodyPr wrap="square">
            <a:noAutofit/>
          </a:bodyPr>
          <a:lstStyle/>
          <a:p>
            <a:pPr marL="342900" indent="-342900">
              <a:lnSpc>
                <a:spcPct val="150000"/>
              </a:lnSpc>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sym typeface="+mn-ea"/>
              </a:rPr>
              <a:t>综合考虑，猪源纤维蛋白粘合剂和人纤维蛋白粘合剂不在国家医保目录内，人纤维蛋白原在国家医保目录内，其成分单一、起效较慢，我们的猪纤维蛋白粘合剂作为纤维蛋白原</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凝血酶的双组份产品，有更好、更迅速的局部止血表现，故选择人纤维蛋白原作为参照药品。</a:t>
            </a:r>
            <a:endParaRPr lang="en-US" altLang="zh-CN" sz="16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5"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安全性</a:t>
            </a:r>
            <a:r>
              <a:rPr lang="zh-CN" altLang="en-US" sz="2700" dirty="0">
                <a:solidFill>
                  <a:srgbClr val="1A1918"/>
                </a:solidFill>
                <a:latin typeface="微软雅黑" panose="020B0503020204020204" pitchFamily="34" charset="-122"/>
                <a:ea typeface="微软雅黑" panose="020B0503020204020204" pitchFamily="34" charset="-122"/>
              </a:rPr>
              <a:t>（大数据跟踪及监测，</a:t>
            </a:r>
            <a:r>
              <a:rPr lang="zh-CN" altLang="en-US" sz="2700" dirty="0">
                <a:solidFill>
                  <a:srgbClr val="1A1918"/>
                </a:solidFill>
                <a:latin typeface="微软雅黑" panose="020B0503020204020204" pitchFamily="34" charset="-122"/>
                <a:ea typeface="微软雅黑" panose="020B0503020204020204" pitchFamily="34" charset="-122"/>
                <a:sym typeface="+mn-ea"/>
              </a:rPr>
              <a:t>未见不良反应</a:t>
            </a:r>
            <a:r>
              <a:rPr lang="zh-CN" altLang="en-US" sz="2700" dirty="0">
                <a:solidFill>
                  <a:srgbClr val="1A1918"/>
                </a:solidFill>
                <a:latin typeface="微软雅黑" panose="020B0503020204020204" pitchFamily="34" charset="-122"/>
                <a:ea typeface="微软雅黑" panose="020B0503020204020204" pitchFamily="34" charset="-122"/>
              </a:rPr>
              <a:t>）</a:t>
            </a:r>
            <a:endParaRPr lang="zh-CN" altLang="en-US" sz="2700" dirty="0">
              <a:solidFill>
                <a:srgbClr val="1A1918"/>
              </a:solidFill>
              <a:latin typeface="微软雅黑" panose="020B0503020204020204" pitchFamily="34" charset="-122"/>
              <a:ea typeface="微软雅黑" panose="020B0503020204020204" pitchFamily="34" charset="-122"/>
            </a:endParaRPr>
          </a:p>
        </p:txBody>
      </p:sp>
      <p:grpSp>
        <p:nvGrpSpPr>
          <p:cNvPr id="24" name="组合 23"/>
          <p:cNvGrpSpPr/>
          <p:nvPr>
            <p:custDataLst>
              <p:tags r:id="rId5"/>
            </p:custDataLst>
          </p:nvPr>
        </p:nvGrpSpPr>
        <p:grpSpPr>
          <a:xfrm>
            <a:off x="961027" y="2788514"/>
            <a:ext cx="10492490" cy="3349140"/>
            <a:chOff x="876" y="3004"/>
            <a:chExt cx="16013" cy="6541"/>
          </a:xfrm>
        </p:grpSpPr>
        <p:grpSp>
          <p:nvGrpSpPr>
            <p:cNvPr id="17" name="组合 16"/>
            <p:cNvGrpSpPr/>
            <p:nvPr/>
          </p:nvGrpSpPr>
          <p:grpSpPr>
            <a:xfrm>
              <a:off x="876" y="3004"/>
              <a:ext cx="15928" cy="6541"/>
              <a:chOff x="-459" y="3283"/>
              <a:chExt cx="11877" cy="6134"/>
            </a:xfrm>
          </p:grpSpPr>
          <p:grpSp>
            <p:nvGrpSpPr>
              <p:cNvPr id="4" name="组合 3"/>
              <p:cNvGrpSpPr/>
              <p:nvPr/>
            </p:nvGrpSpPr>
            <p:grpSpPr>
              <a:xfrm>
                <a:off x="-459" y="3283"/>
                <a:ext cx="6753" cy="6134"/>
                <a:chOff x="-1455" y="2390"/>
                <a:chExt cx="17391" cy="7288"/>
              </a:xfrm>
            </p:grpSpPr>
            <p:sp>
              <p:nvSpPr>
                <p:cNvPr id="76" name="矩形: 圆角 75"/>
                <p:cNvSpPr/>
                <p:nvPr>
                  <p:custDataLst>
                    <p:tags r:id="rId6"/>
                  </p:custDataLst>
                </p:nvPr>
              </p:nvSpPr>
              <p:spPr>
                <a:xfrm>
                  <a:off x="7287" y="2614"/>
                  <a:ext cx="8461" cy="7051"/>
                </a:xfrm>
                <a:prstGeom prst="roundRect">
                  <a:avLst>
                    <a:gd name="adj" fmla="val 8830"/>
                  </a:avLst>
                </a:prstGeom>
                <a:noFill/>
                <a:ln w="19050">
                  <a:solidFill>
                    <a:schemeClr val="accent5"/>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9F9F9"/>
                      </a:solidFill>
                    </a14:hiddenFill>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44" name="矩形 43"/>
                <p:cNvSpPr/>
                <p:nvPr>
                  <p:custDataLst>
                    <p:tags r:id="rId7"/>
                  </p:custDataLst>
                </p:nvPr>
              </p:nvSpPr>
              <p:spPr>
                <a:xfrm>
                  <a:off x="7237" y="2390"/>
                  <a:ext cx="8699" cy="1315"/>
                </a:xfrm>
                <a:prstGeom prst="rect">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2" name="矩形: 圆角 41"/>
                <p:cNvSpPr/>
                <p:nvPr>
                  <p:custDataLst>
                    <p:tags r:id="rId8"/>
                  </p:custDataLst>
                </p:nvPr>
              </p:nvSpPr>
              <p:spPr>
                <a:xfrm>
                  <a:off x="-1360" y="3051"/>
                  <a:ext cx="8237" cy="6627"/>
                </a:xfrm>
                <a:prstGeom prst="roundRect">
                  <a:avLst>
                    <a:gd name="adj" fmla="val 9621"/>
                  </a:avLst>
                </a:prstGeom>
                <a:noFill/>
                <a:ln w="19050">
                  <a:solidFill>
                    <a:schemeClr val="tx2">
                      <a:lumMod val="60000"/>
                      <a:lumOff val="4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43" name="矩形 42"/>
                <p:cNvSpPr/>
                <p:nvPr>
                  <p:custDataLst>
                    <p:tags r:id="rId9"/>
                  </p:custDataLst>
                </p:nvPr>
              </p:nvSpPr>
              <p:spPr>
                <a:xfrm>
                  <a:off x="-1455" y="2390"/>
                  <a:ext cx="8336" cy="1315"/>
                </a:xfrm>
                <a:prstGeom prst="rect">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7" name="矩形 76"/>
                <p:cNvSpPr/>
                <p:nvPr>
                  <p:custDataLst>
                    <p:tags r:id="rId10"/>
                  </p:custDataLst>
                </p:nvPr>
              </p:nvSpPr>
              <p:spPr>
                <a:xfrm>
                  <a:off x="7413" y="2540"/>
                  <a:ext cx="8459" cy="984"/>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sym typeface="+mn-ea"/>
                    </a:rPr>
                    <a:t>不良反应</a:t>
                  </a:r>
                  <a:r>
                    <a:rPr kumimoji="1" lang="zh-CN" altLang="en-US" b="1" dirty="0">
                      <a:solidFill>
                        <a:schemeClr val="bg1"/>
                      </a:solidFill>
                      <a:latin typeface="微软雅黑" panose="020B0503020204020204" pitchFamily="34" charset="-122"/>
                      <a:ea typeface="微软雅黑" panose="020B0503020204020204" pitchFamily="34" charset="-122"/>
                      <a:sym typeface="+mn-ea"/>
                    </a:rPr>
                    <a:t>数据库</a:t>
                  </a:r>
                  <a:endParaRPr kumimoji="1" lang="zh-CN" altLang="en-US" b="1" dirty="0">
                    <a:solidFill>
                      <a:schemeClr val="bg1"/>
                    </a:solidFill>
                    <a:latin typeface="微软雅黑" panose="020B0503020204020204" pitchFamily="34" charset="-122"/>
                    <a:ea typeface="微软雅黑" panose="020B0503020204020204" pitchFamily="34" charset="-122"/>
                    <a:sym typeface="+mn-ea"/>
                  </a:endParaRPr>
                </a:p>
              </p:txBody>
            </p:sp>
          </p:grpSp>
          <p:sp>
            <p:nvSpPr>
              <p:cNvPr id="12" name="矩形: 圆角 75"/>
              <p:cNvSpPr/>
              <p:nvPr>
                <p:custDataLst>
                  <p:tags r:id="rId11"/>
                </p:custDataLst>
              </p:nvPr>
            </p:nvSpPr>
            <p:spPr>
              <a:xfrm>
                <a:off x="6605" y="3473"/>
                <a:ext cx="4724" cy="5936"/>
              </a:xfrm>
              <a:prstGeom prst="roundRect">
                <a:avLst>
                  <a:gd name="adj" fmla="val 8830"/>
                </a:avLst>
              </a:prstGeom>
              <a:solidFill>
                <a:srgbClr val="F9F9F9"/>
              </a:solidFill>
              <a:ln w="19050">
                <a:solidFill>
                  <a:schemeClr val="accent1">
                    <a:lumMod val="60000"/>
                    <a:lumOff val="4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3" name="矩形 12"/>
              <p:cNvSpPr/>
              <p:nvPr>
                <p:custDataLst>
                  <p:tags r:id="rId12"/>
                </p:custDataLst>
              </p:nvPr>
            </p:nvSpPr>
            <p:spPr>
              <a:xfrm>
                <a:off x="6580" y="3283"/>
                <a:ext cx="4838" cy="1107"/>
              </a:xfrm>
              <a:prstGeom prst="rect">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5" name="矩形 14"/>
              <p:cNvSpPr/>
              <p:nvPr>
                <p:custDataLst>
                  <p:tags r:id="rId13"/>
                </p:custDataLst>
              </p:nvPr>
            </p:nvSpPr>
            <p:spPr>
              <a:xfrm>
                <a:off x="6598" y="3409"/>
                <a:ext cx="4755" cy="828"/>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毒理学数据</a:t>
                </a:r>
                <a:endParaRPr kumimoji="1" lang="zh-CN" altLang="en-US" b="1" dirty="0">
                  <a:solidFill>
                    <a:schemeClr val="bg1"/>
                  </a:solidFill>
                  <a:latin typeface="微软雅黑" panose="020B0503020204020204" pitchFamily="34" charset="-122"/>
                  <a:ea typeface="微软雅黑" panose="020B0503020204020204" pitchFamily="34" charset="-122"/>
                </a:endParaRPr>
              </a:p>
            </p:txBody>
          </p:sp>
        </p:grpSp>
        <p:sp>
          <p:nvSpPr>
            <p:cNvPr id="16" name="矩形 15"/>
            <p:cNvSpPr/>
            <p:nvPr>
              <p:custDataLst>
                <p:tags r:id="rId14"/>
              </p:custDataLst>
            </p:nvPr>
          </p:nvSpPr>
          <p:spPr>
            <a:xfrm>
              <a:off x="990" y="3140"/>
              <a:ext cx="4129" cy="828"/>
            </a:xfrm>
            <a:prstGeom prst="rect">
              <a:avLst/>
            </a:prstGeom>
            <a:noFill/>
            <a:ln w="28575">
              <a:noFill/>
            </a:ln>
            <a:extLst>
              <a:ext uri="{909E8E84-426E-40DD-AFC4-6F175D3DCCD1}">
                <a14:hiddenFill xmlns:a14="http://schemas.microsoft.com/office/drawing/2010/main">
                  <a:solidFill>
                    <a:srgbClr val="B4C7E7"/>
                  </a:solidFill>
                </a14:hiddenFill>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上市</a:t>
              </a:r>
              <a:r>
                <a:rPr kumimoji="1" lang="zh-CN" altLang="en-US" b="1" dirty="0">
                  <a:solidFill>
                    <a:schemeClr val="bg1"/>
                  </a:solidFill>
                  <a:latin typeface="微软雅黑" panose="020B0503020204020204" pitchFamily="34" charset="-122"/>
                  <a:ea typeface="微软雅黑" panose="020B0503020204020204" pitchFamily="34" charset="-122"/>
                </a:rPr>
                <a:t>后不良</a:t>
              </a:r>
              <a:r>
                <a:rPr kumimoji="1" lang="zh-CN" altLang="en-US" b="1" dirty="0">
                  <a:solidFill>
                    <a:schemeClr val="bg1"/>
                  </a:solidFill>
                  <a:latin typeface="微软雅黑" panose="020B0503020204020204" pitchFamily="34" charset="-122"/>
                  <a:ea typeface="微软雅黑" panose="020B0503020204020204" pitchFamily="34" charset="-122"/>
                </a:rPr>
                <a:t>反应</a:t>
              </a:r>
              <a:endParaRPr kumimoji="1" lang="zh-CN" altLang="en-US" b="1" dirty="0">
                <a:solidFill>
                  <a:schemeClr val="bg1"/>
                </a:solidFill>
                <a:latin typeface="微软雅黑" panose="020B0503020204020204" pitchFamily="34" charset="-122"/>
                <a:ea typeface="微软雅黑" panose="020B0503020204020204" pitchFamily="34" charset="-122"/>
              </a:endParaRPr>
            </a:p>
          </p:txBody>
        </p:sp>
        <p:sp>
          <p:nvSpPr>
            <p:cNvPr id="100" name="文本框 99"/>
            <p:cNvSpPr txBox="1"/>
            <p:nvPr>
              <p:custDataLst>
                <p:tags r:id="rId15"/>
              </p:custDataLst>
            </p:nvPr>
          </p:nvSpPr>
          <p:spPr>
            <a:xfrm>
              <a:off x="925" y="4314"/>
              <a:ext cx="4303" cy="4974"/>
            </a:xfrm>
            <a:prstGeom prst="rect">
              <a:avLst/>
            </a:prstGeom>
            <a:noFill/>
            <a:ln w="9525">
              <a:noFill/>
            </a:ln>
          </p:spPr>
          <p:txBody>
            <a:bodyPr wrap="square">
              <a:noAutofit/>
            </a:bodyPr>
            <a:lstStyle/>
            <a:p>
              <a:pPr marL="179705" indent="-285750" fontAlgn="auto">
                <a:lnSpc>
                  <a:spcPts val="2500"/>
                </a:lnSpc>
                <a:buFont typeface="Wingdings" panose="05000000000000000000" charset="0"/>
                <a:buChar char="u"/>
              </a:pPr>
              <a:r>
                <a:rPr lang="zh-CN" altLang="zh-CN" dirty="0">
                  <a:latin typeface="微软雅黑" panose="020B0503020204020204" pitchFamily="34" charset="-122"/>
                  <a:ea typeface="微软雅黑" panose="020B0503020204020204" pitchFamily="34" charset="-122"/>
                  <a:sym typeface="+mn-ea"/>
                </a:rPr>
                <a:t>该产品自</a:t>
              </a:r>
              <a:r>
                <a:rPr lang="zh-CN" altLang="en-US" dirty="0">
                  <a:latin typeface="微软雅黑" panose="020B0503020204020204" pitchFamily="34" charset="-122"/>
                  <a:ea typeface="微软雅黑" panose="020B0503020204020204" pitchFamily="34" charset="-122"/>
                  <a:sym typeface="+mn-ea"/>
                </a:rPr>
                <a:t>上市以来，已销</a:t>
              </a:r>
              <a:r>
                <a:rPr lang="zh-CN" altLang="zh-CN" dirty="0">
                  <a:latin typeface="微软雅黑" panose="020B0503020204020204" pitchFamily="34" charset="-122"/>
                  <a:ea typeface="微软雅黑" panose="020B0503020204020204" pitchFamily="34" charset="-122"/>
                  <a:sym typeface="+mn-ea"/>
                </a:rPr>
                <a:t>售近</a:t>
              </a:r>
              <a:r>
                <a:rPr lang="en-US" altLang="zh-CN" dirty="0">
                  <a:latin typeface="微软雅黑" panose="020B0503020204020204" pitchFamily="34" charset="-122"/>
                  <a:ea typeface="微软雅黑" panose="020B0503020204020204" pitchFamily="34" charset="-122"/>
                  <a:sym typeface="+mn-ea"/>
                </a:rPr>
                <a:t>7</a:t>
              </a:r>
              <a:r>
                <a:rPr lang="zh-CN" altLang="zh-CN" dirty="0">
                  <a:latin typeface="微软雅黑" panose="020B0503020204020204" pitchFamily="34" charset="-122"/>
                  <a:ea typeface="微软雅黑" panose="020B0503020204020204" pitchFamily="34" charset="-122"/>
                  <a:sym typeface="+mn-ea"/>
                </a:rPr>
                <a:t>0000套，</a:t>
              </a:r>
              <a:r>
                <a:rPr lang="zh-CN" altLang="en-US" dirty="0">
                  <a:latin typeface="微软雅黑" panose="020B0503020204020204" pitchFamily="34" charset="-122"/>
                  <a:ea typeface="微软雅黑" panose="020B0503020204020204" pitchFamily="34" charset="-122"/>
                  <a:sym typeface="+mn-ea"/>
                </a:rPr>
                <a:t>应用涉及神经外科、胸外科、脊柱外科，企业持续收集不良反应数据，</a:t>
              </a:r>
              <a:r>
                <a:rPr lang="zh-CN" altLang="zh-CN" b="1" dirty="0">
                  <a:solidFill>
                    <a:srgbClr val="FF0000"/>
                  </a:solidFill>
                  <a:latin typeface="微软雅黑" panose="020B0503020204020204" pitchFamily="34" charset="-122"/>
                  <a:ea typeface="微软雅黑" panose="020B0503020204020204" pitchFamily="34" charset="-122"/>
                  <a:sym typeface="+mn-ea"/>
                </a:rPr>
                <a:t>未见任何不良反应事件</a:t>
              </a:r>
              <a:r>
                <a:rPr lang="zh-CN" altLang="zh-CN" dirty="0">
                  <a:latin typeface="微软雅黑" panose="020B0503020204020204" pitchFamily="34" charset="-122"/>
                  <a:ea typeface="微软雅黑" panose="020B0503020204020204" pitchFamily="34" charset="-122"/>
                  <a:sym typeface="+mn-ea"/>
                </a:rPr>
                <a:t>。</a:t>
              </a:r>
              <a:r>
                <a:rPr lang="zh-CN" altLang="zh-CN" dirty="0">
                  <a:noFill/>
                  <a:latin typeface="微软雅黑" panose="020B0503020204020204" pitchFamily="34" charset="-122"/>
                  <a:ea typeface="微软雅黑" panose="020B0503020204020204" pitchFamily="34" charset="-122"/>
                  <a:sym typeface="+mn-ea"/>
                </a:rPr>
                <a:t>不</a:t>
              </a:r>
              <a:endParaRPr lang="zh-CN" altLang="zh-CN" b="1" dirty="0">
                <a:noFill/>
                <a:latin typeface="微软雅黑" panose="020B0503020204020204" pitchFamily="34" charset="-122"/>
                <a:ea typeface="微软雅黑" panose="020B0503020204020204" pitchFamily="34" charset="-122"/>
                <a:sym typeface="+mn-ea"/>
              </a:endParaRPr>
            </a:p>
          </p:txBody>
        </p:sp>
        <p:sp>
          <p:nvSpPr>
            <p:cNvPr id="19" name="文本框 18"/>
            <p:cNvSpPr txBox="1"/>
            <p:nvPr>
              <p:custDataLst>
                <p:tags r:id="rId16"/>
              </p:custDataLst>
            </p:nvPr>
          </p:nvSpPr>
          <p:spPr>
            <a:xfrm>
              <a:off x="10267" y="4315"/>
              <a:ext cx="6622" cy="4987"/>
            </a:xfrm>
            <a:prstGeom prst="rect">
              <a:avLst/>
            </a:prstGeom>
            <a:noFill/>
            <a:ln w="9525">
              <a:noFill/>
            </a:ln>
          </p:spPr>
          <p:txBody>
            <a:bodyPr wrap="square">
              <a:spAutoFit/>
            </a:bodyPr>
            <a:lstStyle/>
            <a:p>
              <a:pPr marL="179705" indent="-285750" fontAlgn="auto">
                <a:lnSpc>
                  <a:spcPts val="2400"/>
                </a:lnSpc>
                <a:buFont typeface="Wingdings" panose="05000000000000000000" charset="0"/>
                <a:buChar char="u"/>
              </a:pPr>
              <a:r>
                <a:rPr lang="zh-CN" altLang="en-US" sz="1600" dirty="0">
                  <a:latin typeface="微软雅黑" panose="020B0503020204020204" pitchFamily="34" charset="-122"/>
                  <a:ea typeface="微软雅黑" panose="020B0503020204020204" pitchFamily="34" charset="-122"/>
                </a:rPr>
                <a:t>单次给药临床剂量的</a:t>
              </a:r>
              <a:r>
                <a:rPr lang="en-US" altLang="zh-CN" sz="1600" dirty="0">
                  <a:latin typeface="微软雅黑" panose="020B0503020204020204" pitchFamily="34" charset="-122"/>
                  <a:ea typeface="微软雅黑" panose="020B0503020204020204" pitchFamily="34" charset="-122"/>
                </a:rPr>
                <a:t>20</a:t>
              </a:r>
              <a:r>
                <a:rPr lang="zh-CN" altLang="en-US" sz="1600" dirty="0">
                  <a:latin typeface="微软雅黑" panose="020B0503020204020204" pitchFamily="34" charset="-122"/>
                  <a:ea typeface="微软雅黑" panose="020B0503020204020204" pitchFamily="34" charset="-122"/>
                </a:rPr>
                <a:t>倍，</a:t>
              </a:r>
              <a:r>
                <a:rPr lang="zh-CN" altLang="en-US" sz="1600" b="1" dirty="0">
                  <a:solidFill>
                    <a:srgbClr val="FF0000"/>
                  </a:solidFill>
                  <a:latin typeface="微软雅黑" panose="020B0503020204020204" pitchFamily="34" charset="-122"/>
                  <a:ea typeface="微软雅黑" panose="020B0503020204020204" pitchFamily="34" charset="-122"/>
                </a:rPr>
                <a:t>未见不良反应。</a:t>
              </a:r>
              <a:endParaRPr lang="zh-CN" altLang="en-US" sz="1600" b="1" dirty="0">
                <a:solidFill>
                  <a:srgbClr val="FF0000"/>
                </a:solidFill>
                <a:latin typeface="微软雅黑" panose="020B0503020204020204" pitchFamily="34" charset="-122"/>
                <a:ea typeface="微软雅黑" panose="020B0503020204020204" pitchFamily="34" charset="-122"/>
              </a:endParaRPr>
            </a:p>
            <a:p>
              <a:pPr marL="179705" indent="-285750" fontAlgn="auto">
                <a:lnSpc>
                  <a:spcPts val="2400"/>
                </a:lnSpc>
                <a:buFont typeface="Wingdings" panose="05000000000000000000" charset="0"/>
                <a:buChar char="u"/>
              </a:pPr>
              <a:r>
                <a:rPr lang="zh-CN" altLang="en-US" sz="1600" dirty="0">
                  <a:latin typeface="微软雅黑" panose="020B0503020204020204" pitchFamily="34" charset="-122"/>
                  <a:ea typeface="微软雅黑" panose="020B0503020204020204" pitchFamily="34" charset="-122"/>
                  <a:sym typeface="+mn-ea"/>
                </a:rPr>
                <a:t>临床剂量下</a:t>
              </a:r>
              <a:r>
                <a:rPr lang="zh-CN" altLang="en-US" sz="1600" dirty="0">
                  <a:latin typeface="微软雅黑" panose="020B0503020204020204" pitchFamily="34" charset="-122"/>
                  <a:ea typeface="微软雅黑" panose="020B0503020204020204" pitchFamily="34" charset="-122"/>
                </a:rPr>
                <a:t>重复给药</a:t>
              </a:r>
              <a:r>
                <a:rPr lang="zh-CN" altLang="en-US" sz="1600" b="1" dirty="0">
                  <a:solidFill>
                    <a:srgbClr val="FF0000"/>
                  </a:solidFill>
                  <a:latin typeface="微软雅黑" panose="020B0503020204020204" pitchFamily="34" charset="-122"/>
                  <a:ea typeface="微软雅黑" panose="020B0503020204020204" pitchFamily="34" charset="-122"/>
                </a:rPr>
                <a:t>，未见不良反应及局部过敏</a:t>
              </a:r>
              <a:r>
                <a:rPr lang="zh-CN" altLang="en-US" sz="1600" b="1" dirty="0">
                  <a:solidFill>
                    <a:srgbClr val="FF0000"/>
                  </a:solidFill>
                  <a:latin typeface="微软雅黑" panose="020B0503020204020204" pitchFamily="34" charset="-122"/>
                  <a:ea typeface="微软雅黑" panose="020B0503020204020204" pitchFamily="34" charset="-122"/>
                </a:rPr>
                <a:t>反应。</a:t>
              </a:r>
              <a:endParaRPr lang="zh-CN" altLang="en-US" sz="1600" dirty="0">
                <a:latin typeface="微软雅黑" panose="020B0503020204020204" pitchFamily="34" charset="-122"/>
                <a:ea typeface="微软雅黑" panose="020B0503020204020204" pitchFamily="34" charset="-122"/>
              </a:endParaRPr>
            </a:p>
            <a:p>
              <a:pPr marL="179705" indent="-285750" fontAlgn="auto">
                <a:lnSpc>
                  <a:spcPts val="2400"/>
                </a:lnSpc>
                <a:buFont typeface="Wingdings" panose="05000000000000000000" charset="0"/>
                <a:buChar char="u"/>
              </a:pPr>
              <a:r>
                <a:rPr lang="zh-CN" altLang="en-US" sz="1600" dirty="0">
                  <a:latin typeface="微软雅黑" panose="020B0503020204020204" pitchFamily="34" charset="-122"/>
                  <a:ea typeface="微软雅黑" panose="020B0503020204020204" pitchFamily="34" charset="-122"/>
                </a:rPr>
                <a:t>局部过敏给药</a:t>
              </a:r>
              <a:r>
                <a:rPr lang="zh-CN" altLang="en-US" sz="1600" dirty="0">
                  <a:latin typeface="微软雅黑" panose="020B0503020204020204" pitchFamily="34" charset="-122"/>
                  <a:ea typeface="微软雅黑" panose="020B0503020204020204" pitchFamily="34" charset="-122"/>
                  <a:sym typeface="+mn-ea"/>
                </a:rPr>
                <a:t>临床剂量的</a:t>
              </a: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倍下</a:t>
              </a:r>
              <a:r>
                <a:rPr lang="zh-CN" altLang="en-US" sz="1600" dirty="0">
                  <a:latin typeface="微软雅黑" panose="020B0503020204020204" pitchFamily="34" charset="-122"/>
                  <a:ea typeface="微软雅黑" panose="020B0503020204020204" pitchFamily="34" charset="-122"/>
                </a:rPr>
                <a:t>，</a:t>
              </a:r>
              <a:r>
                <a:rPr lang="zh-CN" altLang="en-US" sz="1600" b="1" dirty="0">
                  <a:solidFill>
                    <a:srgbClr val="FF0000"/>
                  </a:solidFill>
                  <a:latin typeface="微软雅黑" panose="020B0503020204020204" pitchFamily="34" charset="-122"/>
                  <a:ea typeface="微软雅黑" panose="020B0503020204020204" pitchFamily="34" charset="-122"/>
                </a:rPr>
                <a:t>未见不良反应。</a:t>
              </a:r>
              <a:endParaRPr lang="zh-CN" altLang="en-US" sz="1600" b="1" dirty="0">
                <a:solidFill>
                  <a:srgbClr val="FF0000"/>
                </a:solidFill>
                <a:latin typeface="微软雅黑" panose="020B0503020204020204" pitchFamily="34" charset="-122"/>
                <a:ea typeface="微软雅黑" panose="020B0503020204020204" pitchFamily="34" charset="-122"/>
              </a:endParaRPr>
            </a:p>
            <a:p>
              <a:pPr marL="179705" indent="-285750" fontAlgn="auto">
                <a:lnSpc>
                  <a:spcPts val="2400"/>
                </a:lnSpc>
                <a:buFont typeface="Wingdings" panose="05000000000000000000" charset="0"/>
                <a:buChar char="u"/>
              </a:pPr>
              <a:r>
                <a:rPr lang="zh-CN" altLang="en-US" sz="1600" dirty="0">
                  <a:latin typeface="微软雅黑" panose="020B0503020204020204" pitchFamily="34" charset="-122"/>
                  <a:ea typeface="微软雅黑" panose="020B0503020204020204" pitchFamily="34" charset="-122"/>
                </a:rPr>
                <a:t>本品给予</a:t>
              </a:r>
              <a:r>
                <a:rPr lang="en-US" altLang="zh-CN" sz="1600" dirty="0">
                  <a:latin typeface="微软雅黑" panose="020B0503020204020204" pitchFamily="34" charset="-122"/>
                  <a:ea typeface="微软雅黑" panose="020B0503020204020204" pitchFamily="34" charset="-122"/>
                </a:rPr>
                <a:t>10</a:t>
              </a:r>
              <a:r>
                <a:rPr lang="zh-CN" altLang="en-US" sz="1600" dirty="0">
                  <a:latin typeface="微软雅黑" panose="020B0503020204020204" pitchFamily="34" charset="-122"/>
                  <a:ea typeface="微软雅黑" panose="020B0503020204020204" pitchFamily="34" charset="-122"/>
                </a:rPr>
                <a:t>倍临床剂量</a:t>
              </a:r>
              <a:r>
                <a:rPr lang="zh-CN" altLang="en-US" sz="1600" dirty="0">
                  <a:latin typeface="微软雅黑" panose="020B0503020204020204" pitchFamily="34" charset="-122"/>
                  <a:ea typeface="微软雅黑" panose="020B0503020204020204" pitchFamily="34" charset="-122"/>
                </a:rPr>
                <a:t>，</a:t>
              </a:r>
              <a:r>
                <a:rPr lang="zh-CN" altLang="en-US" sz="1600" b="1" dirty="0">
                  <a:solidFill>
                    <a:srgbClr val="FF0000"/>
                  </a:solidFill>
                  <a:latin typeface="微软雅黑" panose="020B0503020204020204" pitchFamily="34" charset="-122"/>
                  <a:ea typeface="微软雅黑" panose="020B0503020204020204" pitchFamily="34" charset="-122"/>
                </a:rPr>
                <a:t>对中枢系统、心血管系统及呼吸系统无显著影响。</a:t>
              </a:r>
              <a:endParaRPr lang="zh-CN" altLang="en-US" sz="1600" dirty="0">
                <a:latin typeface="微软雅黑" panose="020B0503020204020204" pitchFamily="34" charset="-122"/>
                <a:ea typeface="微软雅黑" panose="020B0503020204020204" pitchFamily="34" charset="-122"/>
              </a:endParaRPr>
            </a:p>
            <a:p>
              <a:pPr marL="179705" indent="-285750" fontAlgn="auto">
                <a:lnSpc>
                  <a:spcPts val="2400"/>
                </a:lnSpc>
                <a:buFont typeface="Wingdings" panose="05000000000000000000" charset="0"/>
                <a:buChar char="u"/>
              </a:pPr>
              <a:r>
                <a:rPr lang="zh-CN" altLang="en-US" sz="1600" b="1" dirty="0">
                  <a:solidFill>
                    <a:srgbClr val="FF0000"/>
                  </a:solidFill>
                  <a:latin typeface="微软雅黑" panose="020B0503020204020204" pitchFamily="34" charset="-122"/>
                  <a:ea typeface="微软雅黑" panose="020B0503020204020204" pitchFamily="34" charset="-122"/>
                </a:rPr>
                <a:t>药代结果显示</a:t>
              </a:r>
              <a:r>
                <a:rPr lang="zh-CN" altLang="en-US" sz="1600" b="1" dirty="0">
                  <a:solidFill>
                    <a:srgbClr val="FF0000"/>
                  </a:solidFill>
                  <a:latin typeface="微软雅黑" panose="020B0503020204020204" pitchFamily="34" charset="-122"/>
                  <a:ea typeface="微软雅黑" panose="020B0503020204020204" pitchFamily="34" charset="-122"/>
                </a:rPr>
                <a:t>本品不吸收入血。</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sp>
          <p:nvSpPr>
            <p:cNvPr id="21" name="文本框 20"/>
            <p:cNvSpPr txBox="1"/>
            <p:nvPr>
              <p:custDataLst>
                <p:tags r:id="rId17"/>
              </p:custDataLst>
            </p:nvPr>
          </p:nvSpPr>
          <p:spPr>
            <a:xfrm>
              <a:off x="5427" y="4316"/>
              <a:ext cx="4407" cy="4357"/>
            </a:xfrm>
            <a:prstGeom prst="rect">
              <a:avLst/>
            </a:prstGeom>
            <a:noFill/>
            <a:ln w="9525">
              <a:noFill/>
            </a:ln>
          </p:spPr>
          <p:txBody>
            <a:bodyPr wrap="square">
              <a:noAutofit/>
            </a:bodyPr>
            <a:lstStyle/>
            <a:p>
              <a:pPr marL="213995" indent="-285750" fontAlgn="auto">
                <a:lnSpc>
                  <a:spcPts val="2500"/>
                </a:lnSpc>
                <a:buFont typeface="Wingdings" panose="05000000000000000000" charset="0"/>
                <a:buChar char="u"/>
              </a:pPr>
              <a:r>
                <a:rPr lang="zh-CN" altLang="zh-CN" dirty="0">
                  <a:latin typeface="微软雅黑" panose="020B0503020204020204" pitchFamily="34" charset="-122"/>
                  <a:ea typeface="微软雅黑" panose="020B0503020204020204" pitchFamily="34" charset="-122"/>
                  <a:sym typeface="+mn-ea"/>
                </a:rPr>
                <a:t>经</a:t>
              </a:r>
              <a:r>
                <a:rPr lang="zh-CN" altLang="en-US" dirty="0">
                  <a:latin typeface="微软雅黑" panose="020B0503020204020204" pitchFamily="34" charset="-122"/>
                  <a:ea typeface="微软雅黑" panose="020B0503020204020204" pitchFamily="34" charset="-122"/>
                </a:rPr>
                <a:t>查询国家药品不良反应监测中心</a:t>
              </a:r>
              <a:r>
                <a:rPr lang="en-US" altLang="zh-CN" dirty="0">
                  <a:latin typeface="微软雅黑" panose="020B0503020204020204" pitchFamily="34" charset="-122"/>
                  <a:ea typeface="微软雅黑" panose="020B0503020204020204" pitchFamily="34" charset="-122"/>
                  <a:sym typeface="+mn-ea"/>
                </a:rPr>
                <a:t>“</a:t>
              </a:r>
              <a:r>
                <a:rPr lang="zh-CN" altLang="en-US" dirty="0">
                  <a:latin typeface="微软雅黑" panose="020B0503020204020204" pitchFamily="34" charset="-122"/>
                  <a:ea typeface="微软雅黑" panose="020B0503020204020204" pitchFamily="34" charset="-122"/>
                </a:rPr>
                <a:t>药品上市许可持有人药品不良反应直接报告系统</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a:t>
              </a:r>
              <a:r>
                <a:rPr lang="zh-CN" altLang="en-US" b="1" dirty="0">
                  <a:solidFill>
                    <a:srgbClr val="FF0000"/>
                  </a:solidFill>
                  <a:latin typeface="微软雅黑" panose="020B0503020204020204" pitchFamily="34" charset="-122"/>
                  <a:ea typeface="微软雅黑" panose="020B0503020204020204" pitchFamily="34" charset="-122"/>
                </a:rPr>
                <a:t>未见不良事件反馈。</a:t>
              </a:r>
              <a:endParaRPr lang="zh-CN" altLang="en-US" b="1" dirty="0">
                <a:solidFill>
                  <a:srgbClr val="FF0000"/>
                </a:solidFill>
                <a:latin typeface="微软雅黑" panose="020B0503020204020204" pitchFamily="34" charset="-122"/>
                <a:ea typeface="微软雅黑" panose="020B0503020204020204" pitchFamily="34" charset="-122"/>
              </a:endParaRPr>
            </a:p>
          </p:txBody>
        </p:sp>
      </p:grpSp>
      <p:sp>
        <p:nvSpPr>
          <p:cNvPr id="5" name="灯片编号占位符 4"/>
          <p:cNvSpPr>
            <a:spLocks noGrp="1"/>
          </p:cNvSpPr>
          <p:nvPr>
            <p:ph type="sldNum" sz="quarter" idx="4"/>
          </p:nvPr>
        </p:nvSpPr>
        <p:spPr/>
        <p:txBody>
          <a:bodyPr/>
          <a:lstStyle/>
          <a:p>
            <a:pPr defTabSz="1218565"/>
            <a:r>
              <a:rPr lang="en-US" altLang="ja-JP" dirty="0"/>
              <a:t>4</a:t>
            </a:r>
            <a:endParaRPr lang="ja-JP" altLang="en-US" dirty="0"/>
          </a:p>
        </p:txBody>
      </p:sp>
      <p:sp>
        <p:nvSpPr>
          <p:cNvPr id="23" name="椭圆 22"/>
          <p:cNvSpPr/>
          <p:nvPr/>
        </p:nvSpPr>
        <p:spPr>
          <a:xfrm>
            <a:off x="616186" y="315174"/>
            <a:ext cx="360000" cy="360000"/>
          </a:xfrm>
          <a:prstGeom prst="ellipse">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2</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 name="Text Placeholder 5"/>
          <p:cNvSpPr txBox="1"/>
          <p:nvPr/>
        </p:nvSpPr>
        <p:spPr>
          <a:xfrm>
            <a:off x="1038225" y="843280"/>
            <a:ext cx="10415270" cy="1681480"/>
          </a:xfrm>
          <a:prstGeom prst="rect">
            <a:avLst/>
          </a:prstGeom>
        </p:spPr>
        <p:txBody>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nSpc>
                <a:spcPct val="150000"/>
              </a:lnSpc>
              <a:buNone/>
            </a:pPr>
            <a:r>
              <a:rPr lang="en-US" altLang="zh-CN" sz="1800" dirty="0">
                <a:latin typeface="微软雅黑" panose="020B0503020204020204" pitchFamily="34" charset="-122"/>
                <a:ea typeface="微软雅黑" panose="020B0503020204020204" pitchFamily="34" charset="-122"/>
              </a:rPr>
              <a:t>       </a:t>
            </a:r>
            <a:r>
              <a:rPr lang="zh-CN" altLang="zh-CN" sz="1800" dirty="0">
                <a:latin typeface="微软雅黑" panose="020B0503020204020204" pitchFamily="34" charset="-122"/>
                <a:ea typeface="微软雅黑" panose="020B0503020204020204" pitchFamily="34" charset="-122"/>
              </a:rPr>
              <a:t>该产品自</a:t>
            </a:r>
            <a:r>
              <a:rPr lang="en-US" altLang="zh-CN" sz="1800" dirty="0">
                <a:latin typeface="微软雅黑" panose="020B0503020204020204" pitchFamily="34" charset="-122"/>
                <a:ea typeface="微软雅黑" panose="020B0503020204020204" pitchFamily="34" charset="-122"/>
              </a:rPr>
              <a:t>2021</a:t>
            </a:r>
            <a:r>
              <a:rPr lang="zh-CN" altLang="en-US" sz="1800" dirty="0">
                <a:latin typeface="微软雅黑" panose="020B0503020204020204" pitchFamily="34" charset="-122"/>
                <a:ea typeface="微软雅黑" panose="020B0503020204020204" pitchFamily="34" charset="-122"/>
              </a:rPr>
              <a:t>年上市后，我司</a:t>
            </a:r>
            <a:r>
              <a:rPr lang="zh-CN" altLang="en-US" sz="1800" dirty="0">
                <a:latin typeface="微软雅黑" panose="020B0503020204020204" pitchFamily="34" charset="-122"/>
                <a:ea typeface="微软雅黑" panose="020B0503020204020204" pitchFamily="34" charset="-122"/>
                <a:sym typeface="+mn-ea"/>
              </a:rPr>
              <a:t>持续跟踪药品不良反应，通过</a:t>
            </a:r>
            <a:r>
              <a:rPr lang="zh-CN" altLang="en-US" sz="1800" dirty="0">
                <a:latin typeface="微软雅黑" panose="020B0503020204020204" pitchFamily="34" charset="-122"/>
                <a:ea typeface="微软雅黑" panose="020B0503020204020204" pitchFamily="34" charset="-122"/>
              </a:rPr>
              <a:t>主动收集及</a:t>
            </a:r>
            <a:r>
              <a:rPr lang="zh-CN" altLang="en-US" sz="1800" dirty="0">
                <a:latin typeface="微软雅黑" panose="020B0503020204020204" pitchFamily="34" charset="-122"/>
                <a:ea typeface="微软雅黑" panose="020B0503020204020204" pitchFamily="34" charset="-122"/>
                <a:sym typeface="+mn-ea"/>
              </a:rPr>
              <a:t>国家药品不良反应监测中心</a:t>
            </a:r>
            <a:r>
              <a:rPr lang="en-US" altLang="zh-CN" sz="1800" dirty="0">
                <a:latin typeface="微软雅黑" panose="020B0503020204020204" pitchFamily="34" charset="-122"/>
                <a:ea typeface="微软雅黑" panose="020B0503020204020204" pitchFamily="34" charset="-122"/>
              </a:rPr>
              <a:t>“</a:t>
            </a:r>
            <a:r>
              <a:rPr lang="zh-CN" altLang="en-US" sz="1800" dirty="0">
                <a:latin typeface="微软雅黑" panose="020B0503020204020204" pitchFamily="34" charset="-122"/>
                <a:ea typeface="微软雅黑" panose="020B0503020204020204" pitchFamily="34" charset="-122"/>
                <a:sym typeface="+mn-ea"/>
              </a:rPr>
              <a:t>药品上市许可持有人药品不良反应直接报告系统</a:t>
            </a:r>
            <a:r>
              <a:rPr lang="en-US" altLang="zh-CN" sz="1800" dirty="0">
                <a:latin typeface="微软雅黑" panose="020B0503020204020204" pitchFamily="34" charset="-122"/>
                <a:ea typeface="微软雅黑" panose="020B0503020204020204" pitchFamily="34" charset="-122"/>
                <a:sym typeface="+mn-ea"/>
              </a:rPr>
              <a:t>”</a:t>
            </a:r>
            <a:r>
              <a:rPr lang="zh-CN" altLang="en-US" sz="1800" dirty="0">
                <a:latin typeface="微软雅黑" panose="020B0503020204020204" pitchFamily="34" charset="-122"/>
                <a:ea typeface="微软雅黑" panose="020B0503020204020204" pitchFamily="34" charset="-122"/>
                <a:sym typeface="+mn-ea"/>
              </a:rPr>
              <a:t>查询等方式，均未见不良</a:t>
            </a:r>
            <a:r>
              <a:rPr lang="zh-CN" altLang="en-US" sz="1800" dirty="0">
                <a:latin typeface="微软雅黑" panose="020B0503020204020204" pitchFamily="34" charset="-122"/>
                <a:ea typeface="微软雅黑" panose="020B0503020204020204" pitchFamily="34" charset="-122"/>
                <a:sym typeface="+mn-ea"/>
              </a:rPr>
              <a:t>反应</a:t>
            </a:r>
            <a:r>
              <a:rPr lang="zh-CN" altLang="en-US" sz="1800" dirty="0">
                <a:latin typeface="微软雅黑" panose="020B0503020204020204" pitchFamily="34" charset="-122"/>
                <a:ea typeface="微软雅黑" panose="020B0503020204020204" pitchFamily="34" charset="-122"/>
                <a:sym typeface="+mn-ea"/>
              </a:rPr>
              <a:t>报告。</a:t>
            </a:r>
            <a:endParaRPr lang="zh-CN" altLang="en-US" sz="1800" dirty="0">
              <a:latin typeface="微软雅黑" panose="020B0503020204020204" pitchFamily="34" charset="-122"/>
              <a:ea typeface="微软雅黑" panose="020B0503020204020204" pitchFamily="34" charset="-122"/>
              <a:sym typeface="+mn-ea"/>
            </a:endParaRPr>
          </a:p>
          <a:p>
            <a:pPr marL="0" indent="0">
              <a:lnSpc>
                <a:spcPct val="150000"/>
              </a:lnSpc>
              <a:buNone/>
            </a:pPr>
            <a:r>
              <a:rPr lang="zh-CN" altLang="en-US" sz="1800" dirty="0">
                <a:latin typeface="微软雅黑" panose="020B0503020204020204" pitchFamily="34" charset="-122"/>
                <a:ea typeface="微软雅黑" panose="020B0503020204020204" pitchFamily="34" charset="-122"/>
                <a:sym typeface="+mn-ea"/>
              </a:rPr>
              <a:t> </a:t>
            </a:r>
            <a:r>
              <a:rPr lang="en-US" altLang="zh-CN" sz="1800" dirty="0">
                <a:latin typeface="微软雅黑" panose="020B0503020204020204" pitchFamily="34" charset="-122"/>
                <a:ea typeface="微软雅黑" panose="020B0503020204020204" pitchFamily="34" charset="-122"/>
                <a:sym typeface="+mn-ea"/>
              </a:rPr>
              <a:t>      </a:t>
            </a:r>
            <a:r>
              <a:rPr lang="zh-CN" altLang="en-US" sz="1800" dirty="0">
                <a:latin typeface="微软雅黑" panose="020B0503020204020204" pitchFamily="34" charset="-122"/>
                <a:ea typeface="微软雅黑" panose="020B0503020204020204" pitchFamily="34" charset="-122"/>
                <a:sym typeface="+mn-ea"/>
              </a:rPr>
              <a:t>本品属于猪源蛋白，可能的不良反应为免疫原性反应，我司进行了药物代谢动力学研究，本品用于局部不吸收入血，多个试验结果均</a:t>
            </a:r>
            <a:r>
              <a:rPr lang="zh-CN" altLang="en-US" sz="1800" b="1" dirty="0">
                <a:solidFill>
                  <a:srgbClr val="FF0000"/>
                </a:solidFill>
                <a:latin typeface="微软雅黑" panose="020B0503020204020204" pitchFamily="34" charset="-122"/>
                <a:ea typeface="微软雅黑" panose="020B0503020204020204" pitchFamily="34" charset="-122"/>
                <a:sym typeface="+mn-ea"/>
              </a:rPr>
              <a:t>未见免疫原性反应</a:t>
            </a:r>
            <a:r>
              <a:rPr lang="zh-CN" altLang="en-US" sz="1800" dirty="0">
                <a:latin typeface="微软雅黑" panose="020B0503020204020204" pitchFamily="34" charset="-122"/>
                <a:ea typeface="微软雅黑" panose="020B0503020204020204" pitchFamily="34" charset="-122"/>
                <a:sym typeface="+mn-ea"/>
              </a:rPr>
              <a:t>。</a:t>
            </a:r>
            <a:endParaRPr lang="zh-CN" altLang="en-US" sz="1800" dirty="0">
              <a:latin typeface="微软雅黑" panose="020B0503020204020204" pitchFamily="34" charset="-122"/>
              <a:ea typeface="微软雅黑" panose="020B0503020204020204" pitchFamily="34" charset="-122"/>
              <a:sym typeface="+mn-ea"/>
            </a:endParaRPr>
          </a:p>
          <a:p>
            <a:pPr marL="0" indent="0">
              <a:lnSpc>
                <a:spcPct val="150000"/>
              </a:lnSpc>
              <a:buNone/>
            </a:pPr>
            <a:endParaRPr lang="zh-CN" altLang="en-US" sz="1800" dirty="0">
              <a:latin typeface="微软雅黑" panose="020B0503020204020204" pitchFamily="34" charset="-122"/>
              <a:ea typeface="微软雅黑" panose="020B0503020204020204" pitchFamily="34" charset="-122"/>
              <a:sym typeface="+mn-ea"/>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3"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有效性</a:t>
            </a:r>
            <a:r>
              <a:rPr lang="zh-CN" altLang="en-US" sz="2700" dirty="0">
                <a:solidFill>
                  <a:srgbClr val="1A1918"/>
                </a:solidFill>
                <a:latin typeface="微软雅黑" panose="020B0503020204020204" pitchFamily="34" charset="-122"/>
                <a:ea typeface="微软雅黑" panose="020B0503020204020204" pitchFamily="34" charset="-122"/>
              </a:rPr>
              <a:t> (国内外指南及专家共识</a:t>
            </a:r>
            <a:r>
              <a:rPr lang="zh-CN" altLang="en-US" sz="2700">
                <a:latin typeface="Times New Roman" panose="02020603050405020304" charset="0"/>
                <a:ea typeface="微软雅黑" panose="020B0503020204020204" pitchFamily="34" charset="-122"/>
                <a:cs typeface="Times New Roman" panose="02020603050405020304" charset="0"/>
                <a:sym typeface="+mn-ea"/>
              </a:rPr>
              <a:t>一致性</a:t>
            </a:r>
            <a:r>
              <a:rPr lang="zh-CN" altLang="en-US" sz="2700" dirty="0">
                <a:solidFill>
                  <a:srgbClr val="1A1918"/>
                </a:solidFill>
                <a:latin typeface="微软雅黑" panose="020B0503020204020204" pitchFamily="34" charset="-122"/>
                <a:ea typeface="微软雅黑" panose="020B0503020204020204" pitchFamily="34" charset="-122"/>
              </a:rPr>
              <a:t>推荐）</a:t>
            </a:r>
            <a:endParaRPr lang="zh-CN" altLang="en-US" sz="2400" dirty="0">
              <a:solidFill>
                <a:srgbClr val="1A1918"/>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4"/>
          </p:nvPr>
        </p:nvSpPr>
        <p:spPr/>
        <p:txBody>
          <a:bodyPr/>
          <a:lstStyle/>
          <a:p>
            <a:pPr defTabSz="1218565"/>
            <a:r>
              <a:rPr lang="en-US" altLang="ja-JP" dirty="0"/>
              <a:t>5</a:t>
            </a:r>
            <a:endParaRPr lang="ja-JP" altLang="en-US" dirty="0"/>
          </a:p>
        </p:txBody>
      </p:sp>
      <p:sp>
        <p:nvSpPr>
          <p:cNvPr id="9" name="椭圆 8"/>
          <p:cNvSpPr/>
          <p:nvPr/>
        </p:nvSpPr>
        <p:spPr>
          <a:xfrm>
            <a:off x="616186" y="315174"/>
            <a:ext cx="360000" cy="360000"/>
          </a:xfrm>
          <a:prstGeom prst="ellipse">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3</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aphicFrame>
        <p:nvGraphicFramePr>
          <p:cNvPr id="5" name="表格 4"/>
          <p:cNvGraphicFramePr/>
          <p:nvPr>
            <p:custDataLst>
              <p:tags r:id="rId5"/>
            </p:custDataLst>
          </p:nvPr>
        </p:nvGraphicFramePr>
        <p:xfrm>
          <a:off x="358140" y="1277620"/>
          <a:ext cx="11426825" cy="5466715"/>
        </p:xfrm>
        <a:graphic>
          <a:graphicData uri="http://schemas.openxmlformats.org/drawingml/2006/table">
            <a:tbl>
              <a:tblPr firstRow="1" bandRow="1">
                <a:tableStyleId>{B301B821-A1FF-4177-AEE7-76D212191A09}</a:tableStyleId>
              </a:tblPr>
              <a:tblGrid>
                <a:gridCol w="690245"/>
                <a:gridCol w="909320"/>
                <a:gridCol w="2185035"/>
                <a:gridCol w="7642225"/>
              </a:tblGrid>
              <a:tr h="335280">
                <a:tc>
                  <a:txBody>
                    <a:bodyPr/>
                    <a:p>
                      <a:pPr algn="ctr">
                        <a:buNone/>
                      </a:pPr>
                      <a:r>
                        <a:rPr lang="zh-CN" altLang="en-US" sz="1600">
                          <a:latin typeface="微软雅黑" panose="020B0503020204020204" pitchFamily="34" charset="-122"/>
                          <a:ea typeface="微软雅黑" panose="020B0503020204020204" pitchFamily="34" charset="-122"/>
                        </a:rPr>
                        <a:t>序号</a:t>
                      </a:r>
                      <a:endParaRPr lang="zh-CN" altLang="en-US" sz="16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600">
                          <a:latin typeface="微软雅黑" panose="020B0503020204020204" pitchFamily="34" charset="-122"/>
                          <a:ea typeface="微软雅黑" panose="020B0503020204020204" pitchFamily="34" charset="-122"/>
                        </a:rPr>
                        <a:t>科室</a:t>
                      </a:r>
                      <a:endParaRPr lang="zh-CN" altLang="en-US" sz="16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600">
                          <a:latin typeface="微软雅黑" panose="020B0503020204020204" pitchFamily="34" charset="-122"/>
                          <a:ea typeface="微软雅黑" panose="020B0503020204020204" pitchFamily="34" charset="-122"/>
                        </a:rPr>
                        <a:t>指南</a:t>
                      </a:r>
                      <a:endParaRPr lang="zh-CN" altLang="en-US" sz="1600">
                        <a:latin typeface="微软雅黑" panose="020B0503020204020204" pitchFamily="34" charset="-122"/>
                        <a:ea typeface="微软雅黑" panose="020B0503020204020204" pitchFamily="34" charset="-122"/>
                      </a:endParaRPr>
                    </a:p>
                  </a:txBody>
                  <a:tcPr anchor="ctr" anchorCtr="0"/>
                </a:tc>
                <a:tc>
                  <a:txBody>
                    <a:bodyPr/>
                    <a:p>
                      <a:pPr algn="ctr">
                        <a:buNone/>
                      </a:pPr>
                      <a:endParaRPr lang="zh-CN" altLang="en-US" sz="1600">
                        <a:latin typeface="微软雅黑" panose="020B0503020204020204" pitchFamily="34" charset="-122"/>
                        <a:ea typeface="微软雅黑" panose="020B0503020204020204" pitchFamily="34" charset="-122"/>
                      </a:endParaRPr>
                    </a:p>
                  </a:txBody>
                  <a:tcPr anchor="ctr" anchorCtr="0"/>
                </a:tc>
              </a:tr>
              <a:tr h="1107440">
                <a:tc>
                  <a:txBody>
                    <a:bodyPr/>
                    <a:p>
                      <a:pPr algn="ctr">
                        <a:buNone/>
                      </a:pPr>
                      <a:r>
                        <a:rPr lang="en-US" altLang="zh-CN" sz="1400">
                          <a:latin typeface="微软雅黑" panose="020B0503020204020204" pitchFamily="34" charset="-122"/>
                          <a:ea typeface="微软雅黑" panose="020B0503020204020204" pitchFamily="34" charset="-122"/>
                        </a:rPr>
                        <a:t>1</a:t>
                      </a:r>
                      <a:endParaRPr lang="en-US" altLang="zh-CN" sz="14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400">
                          <a:latin typeface="微软雅黑" panose="020B0503020204020204" pitchFamily="34" charset="-122"/>
                          <a:ea typeface="微软雅黑" panose="020B0503020204020204" pitchFamily="34" charset="-122"/>
                        </a:rPr>
                        <a:t>胸外科</a:t>
                      </a:r>
                      <a:endParaRPr lang="zh-CN" altLang="en-US" sz="14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400">
                          <a:latin typeface="微软雅黑" panose="020B0503020204020204" pitchFamily="34" charset="-122"/>
                          <a:ea typeface="微软雅黑" panose="020B0503020204020204" pitchFamily="34" charset="-122"/>
                        </a:rPr>
                        <a:t>胸外科围手术期出血防治专家共识（</a:t>
                      </a:r>
                      <a:r>
                        <a:rPr lang="en-US" altLang="zh-CN" sz="1400">
                          <a:latin typeface="微软雅黑" panose="020B0503020204020204" pitchFamily="34" charset="-122"/>
                          <a:ea typeface="微软雅黑" panose="020B0503020204020204" pitchFamily="34" charset="-122"/>
                          <a:cs typeface="微软雅黑" panose="020B0503020204020204" pitchFamily="34" charset="-122"/>
                          <a:sym typeface="+mn-ea"/>
                        </a:rPr>
                        <a:t>2018</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版</a:t>
                      </a:r>
                      <a:r>
                        <a:rPr lang="zh-CN" altLang="en-US" sz="1400">
                          <a:latin typeface="微软雅黑" panose="020B0503020204020204" pitchFamily="34" charset="-122"/>
                          <a:ea typeface="微软雅黑" panose="020B0503020204020204" pitchFamily="34" charset="-122"/>
                        </a:rPr>
                        <a:t>）</a:t>
                      </a:r>
                      <a:endParaRPr lang="zh-CN" altLang="en-US" sz="1400">
                        <a:latin typeface="微软雅黑" panose="020B0503020204020204" pitchFamily="34" charset="-122"/>
                        <a:ea typeface="微软雅黑" panose="020B0503020204020204" pitchFamily="34" charset="-122"/>
                      </a:endParaRPr>
                    </a:p>
                  </a:txBody>
                  <a:tcPr anchor="ctr" anchorCtr="0"/>
                </a:tc>
                <a:tc>
                  <a:txBody>
                    <a:bodyPr/>
                    <a:p>
                      <a:pPr indent="0" algn="l" fontAlgn="auto">
                        <a:lnSpc>
                          <a:spcPts val="1600"/>
                        </a:lnSpc>
                        <a:buNone/>
                      </a:pPr>
                      <a:r>
                        <a:rPr lang="zh-CN" altLang="en-US" sz="1200">
                          <a:latin typeface="微软雅黑" panose="020B0503020204020204" pitchFamily="34" charset="-122"/>
                          <a:ea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rPr>
                        <a:t>1</a:t>
                      </a:r>
                      <a:r>
                        <a:rPr lang="zh-CN" altLang="en-US" sz="1200">
                          <a:latin typeface="微软雅黑" panose="020B0503020204020204" pitchFamily="34" charset="-122"/>
                          <a:ea typeface="微软雅黑" panose="020B0503020204020204" pitchFamily="34" charset="-122"/>
                        </a:rPr>
                        <a:t>）对于</a:t>
                      </a:r>
                      <a:r>
                        <a:rPr lang="zh-CN" altLang="en-US" sz="1200">
                          <a:solidFill>
                            <a:srgbClr val="FF0000"/>
                          </a:solidFill>
                          <a:latin typeface="微软雅黑" panose="020B0503020204020204" pitchFamily="34" charset="-122"/>
                          <a:ea typeface="微软雅黑" panose="020B0503020204020204" pitchFamily="34" charset="-122"/>
                        </a:rPr>
                        <a:t>肺表面、肺段面、创面等处的渗血及支气管动脉出血</a:t>
                      </a:r>
                      <a:r>
                        <a:rPr lang="zh-CN" altLang="en-US" sz="1200">
                          <a:latin typeface="微软雅黑" panose="020B0503020204020204" pitchFamily="34" charset="-122"/>
                          <a:ea typeface="微软雅黑" panose="020B0503020204020204" pitchFamily="34" charset="-122"/>
                        </a:rPr>
                        <a:t>等</a:t>
                      </a:r>
                      <a:r>
                        <a:rPr lang="en-US" altLang="zh-CN" sz="1200">
                          <a:latin typeface="微软雅黑" panose="020B0503020204020204" pitchFamily="34" charset="-122"/>
                          <a:ea typeface="微软雅黑" panose="020B0503020204020204" pitchFamily="34" charset="-122"/>
                        </a:rPr>
                        <a:t>,</a:t>
                      </a:r>
                      <a:r>
                        <a:rPr lang="zh-CN" altLang="en-US" sz="1200">
                          <a:latin typeface="微软雅黑" panose="020B0503020204020204" pitchFamily="34" charset="-122"/>
                          <a:ea typeface="微软雅黑" panose="020B0503020204020204" pitchFamily="34" charset="-122"/>
                        </a:rPr>
                        <a:t>可以在手术中预防性使用止血材料。特别对于因使用低分子肝系进行全身抗凝治疗的患者，可在创面使用含凝血酶的</a:t>
                      </a:r>
                      <a:r>
                        <a:rPr lang="zh-CN" altLang="en-US" sz="1200">
                          <a:solidFill>
                            <a:srgbClr val="FF0000"/>
                          </a:solidFill>
                          <a:latin typeface="微软雅黑" panose="020B0503020204020204" pitchFamily="34" charset="-122"/>
                          <a:ea typeface="微软雅黑" panose="020B0503020204020204" pitchFamily="34" charset="-122"/>
                        </a:rPr>
                        <a:t>纤维蛋白粘合剂</a:t>
                      </a:r>
                      <a:r>
                        <a:rPr lang="zh-CN" altLang="en-US" sz="1200">
                          <a:latin typeface="微软雅黑" panose="020B0503020204020204" pitchFamily="34" charset="-122"/>
                          <a:ea typeface="微软雅黑" panose="020B0503020204020204" pitchFamily="34" charset="-122"/>
                        </a:rPr>
                        <a:t>局部止血纠正凝血障碍并预防术后再出血</a:t>
                      </a:r>
                      <a:r>
                        <a:rPr lang="en-US" altLang="zh-CN" sz="1200">
                          <a:latin typeface="微软雅黑" panose="020B0503020204020204" pitchFamily="34" charset="-122"/>
                          <a:ea typeface="微软雅黑" panose="020B0503020204020204" pitchFamily="34" charset="-122"/>
                        </a:rPr>
                        <a:t>.</a:t>
                      </a:r>
                      <a:endParaRPr lang="en-US" altLang="zh-CN" sz="1200">
                        <a:latin typeface="微软雅黑" panose="020B0503020204020204" pitchFamily="34" charset="-122"/>
                        <a:ea typeface="微软雅黑" panose="020B0503020204020204" pitchFamily="34" charset="-122"/>
                      </a:endParaRPr>
                    </a:p>
                    <a:p>
                      <a:pPr indent="0" algn="l" fontAlgn="auto">
                        <a:lnSpc>
                          <a:spcPts val="1600"/>
                        </a:lnSpc>
                        <a:buNone/>
                      </a:pPr>
                      <a:r>
                        <a:rPr lang="zh-CN" altLang="en-US" sz="1200">
                          <a:latin typeface="微软雅黑" panose="020B0503020204020204" pitchFamily="34" charset="-122"/>
                          <a:ea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rPr>
                        <a:t>2</a:t>
                      </a:r>
                      <a:r>
                        <a:rPr lang="zh-CN" altLang="en-US" sz="1200">
                          <a:latin typeface="微软雅黑" panose="020B0503020204020204" pitchFamily="34" charset="-122"/>
                          <a:ea typeface="微软雅黑" panose="020B0503020204020204" pitchFamily="34" charset="-122"/>
                        </a:rPr>
                        <a:t>）胸膜腔粘连时</a:t>
                      </a:r>
                      <a:r>
                        <a:rPr lang="en-US" altLang="zh-CN" sz="1200">
                          <a:solidFill>
                            <a:srgbClr val="FF0000"/>
                          </a:solidFill>
                          <a:latin typeface="微软雅黑" panose="020B0503020204020204" pitchFamily="34" charset="-122"/>
                          <a:ea typeface="微软雅黑" panose="020B0503020204020204" pitchFamily="34" charset="-122"/>
                        </a:rPr>
                        <a:t>,</a:t>
                      </a:r>
                      <a:r>
                        <a:rPr lang="zh-CN" altLang="en-US" sz="1200">
                          <a:solidFill>
                            <a:srgbClr val="FF0000"/>
                          </a:solidFill>
                          <a:latin typeface="微软雅黑" panose="020B0503020204020204" pitchFamily="34" charset="-122"/>
                          <a:ea typeface="微软雅黑" panose="020B0503020204020204" pitchFamily="34" charset="-122"/>
                        </a:rPr>
                        <a:t>脏壁层胸膜面的渗血</a:t>
                      </a:r>
                      <a:r>
                        <a:rPr lang="zh-CN" altLang="en-US" sz="1200">
                          <a:latin typeface="微软雅黑" panose="020B0503020204020204" pitchFamily="34" charset="-122"/>
                          <a:ea typeface="微软雅黑" panose="020B0503020204020204" pitchFamily="34" charset="-122"/>
                        </a:rPr>
                        <a:t>可用电凝超声刀或缝扎止血，大面积小量渗血可用热纱垫湿敷</a:t>
                      </a:r>
                      <a:r>
                        <a:rPr lang="en-US" altLang="zh-CN" sz="1200">
                          <a:latin typeface="微软雅黑" panose="020B0503020204020204" pitchFamily="34" charset="-122"/>
                          <a:ea typeface="微软雅黑" panose="020B0503020204020204" pitchFamily="34" charset="-122"/>
                        </a:rPr>
                        <a:t>,</a:t>
                      </a:r>
                      <a:r>
                        <a:rPr lang="zh-CN" altLang="en-US" sz="1200">
                          <a:latin typeface="微软雅黑" panose="020B0503020204020204" pitchFamily="34" charset="-122"/>
                          <a:ea typeface="微软雅黑" panose="020B0503020204020204" pitchFamily="34" charset="-122"/>
                        </a:rPr>
                        <a:t>或可喷洒纤维蛋白粘合剂或放置再生氧化纤维素止血</a:t>
                      </a:r>
                      <a:r>
                        <a:rPr lang="en-US" altLang="zh-CN" sz="1200">
                          <a:latin typeface="微软雅黑" panose="020B0503020204020204" pitchFamily="34" charset="-122"/>
                          <a:ea typeface="微软雅黑" panose="020B0503020204020204" pitchFamily="34" charset="-122"/>
                        </a:rPr>
                        <a:t>.</a:t>
                      </a:r>
                      <a:endParaRPr lang="en-US" altLang="zh-CN" sz="1200">
                        <a:latin typeface="微软雅黑" panose="020B0503020204020204" pitchFamily="34" charset="-122"/>
                        <a:ea typeface="微软雅黑" panose="020B0503020204020204" pitchFamily="34" charset="-122"/>
                      </a:endParaRPr>
                    </a:p>
                  </a:txBody>
                  <a:tcPr anchor="ctr" anchorCtr="0"/>
                </a:tc>
              </a:tr>
              <a:tr h="822960">
                <a:tc rowSpan="2">
                  <a:txBody>
                    <a:bodyPr/>
                    <a:p>
                      <a:pPr algn="ctr">
                        <a:buNone/>
                      </a:pPr>
                      <a:r>
                        <a:rPr lang="en-US" altLang="zh-CN" sz="1400">
                          <a:latin typeface="微软雅黑" panose="020B0503020204020204" pitchFamily="34" charset="-122"/>
                          <a:ea typeface="微软雅黑" panose="020B0503020204020204" pitchFamily="34" charset="-122"/>
                        </a:rPr>
                        <a:t>2</a:t>
                      </a:r>
                      <a:endParaRPr lang="en-US" altLang="zh-CN" sz="1400">
                        <a:latin typeface="微软雅黑" panose="020B0503020204020204" pitchFamily="34" charset="-122"/>
                        <a:ea typeface="微软雅黑" panose="020B0503020204020204" pitchFamily="34" charset="-122"/>
                      </a:endParaRPr>
                    </a:p>
                  </a:txBody>
                  <a:tcPr anchor="ctr" anchorCtr="0"/>
                </a:tc>
                <a:tc rowSpan="2">
                  <a:txBody>
                    <a:bodyPr/>
                    <a:p>
                      <a:pPr algn="ctr">
                        <a:buNone/>
                      </a:pPr>
                      <a:r>
                        <a:rPr lang="zh-CN" altLang="en-US" sz="1400">
                          <a:latin typeface="微软雅黑" panose="020B0503020204020204" pitchFamily="34" charset="-122"/>
                          <a:ea typeface="微软雅黑" panose="020B0503020204020204" pitchFamily="34" charset="-122"/>
                        </a:rPr>
                        <a:t>神经外科</a:t>
                      </a:r>
                      <a:endParaRPr lang="zh-CN" altLang="en-US" sz="14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400">
                          <a:latin typeface="微软雅黑" panose="020B0503020204020204" pitchFamily="34" charset="-122"/>
                          <a:ea typeface="微软雅黑" panose="020B0503020204020204" pitchFamily="34" charset="-122"/>
                        </a:rPr>
                        <a:t>出凝血功能障碍相关性脑出血中国多学科诊治指南（</a:t>
                      </a:r>
                      <a:r>
                        <a:rPr lang="en-US" altLang="zh-CN" sz="1400">
                          <a:latin typeface="微软雅黑" panose="020B0503020204020204" pitchFamily="34" charset="-122"/>
                          <a:ea typeface="微软雅黑" panose="020B0503020204020204" pitchFamily="34" charset="-122"/>
                          <a:cs typeface="微软雅黑" panose="020B0503020204020204" pitchFamily="34" charset="-122"/>
                          <a:sym typeface="+mn-ea"/>
                        </a:rPr>
                        <a:t>2021</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版）</a:t>
                      </a:r>
                      <a:endPar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nchorCtr="0"/>
                </a:tc>
                <a:tc>
                  <a:txBody>
                    <a:bodyPr/>
                    <a:p>
                      <a:pPr algn="l">
                        <a:buNone/>
                      </a:pP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出凝血功能障碍相关性脑出血</a:t>
                      </a:r>
                      <a:r>
                        <a:rPr lang="en-US" altLang="zh-CN"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HDICH)</a:t>
                      </a: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患者术中止血会相对困难，合理地使用止血材料非常重要</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不同的止血材料其作用机制存在差异。</a:t>
                      </a:r>
                      <a:r>
                        <a:rPr lang="en-US" altLang="zh-CN"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纤维蛋白粘合剂</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含有</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FDP</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和</a:t>
                      </a:r>
                      <a:r>
                        <a:rPr lang="en-US" altLang="en-US" sz="1200">
                          <a:latin typeface="微软雅黑" panose="020B0503020204020204" pitchFamily="34" charset="-122"/>
                          <a:ea typeface="微软雅黑" panose="020B0503020204020204" pitchFamily="34" charset="-122"/>
                          <a:cs typeface="微软雅黑" panose="020B0503020204020204" pitchFamily="34" charset="-122"/>
                        </a:rPr>
                        <a:t>ⅩⅢ</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因子的主体溶液与含有凝血酶的催化溶液混合，形成稳定的纤维蛋白多聚体。其止血原理是模拟凝血共同途径的最后阶段。不依赖内源性凝血途径，不需要活动性出血以激活凝血机制。</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1737360">
                <a:tc vMerge="1">
                  <a:tcPr anchor="ctr" anchorCtr="0"/>
                </a:tc>
                <a:tc vMerge="1">
                  <a:tcPr anchor="ctr" anchorCtr="0"/>
                </a:tc>
                <a:tc>
                  <a:txBody>
                    <a:bodyPr/>
                    <a:p>
                      <a:pPr algn="ctr">
                        <a:buNone/>
                      </a:pPr>
                      <a:r>
                        <a:rPr lang="zh-CN" altLang="en-US" sz="1400">
                          <a:latin typeface="微软雅黑" panose="020B0503020204020204" pitchFamily="34" charset="-122"/>
                          <a:ea typeface="微软雅黑" panose="020B0503020204020204" pitchFamily="34" charset="-122"/>
                        </a:rPr>
                        <a:t>神经外科围手术期出血防治专家共识</a:t>
                      </a:r>
                      <a:r>
                        <a:rPr lang="zh-CN" altLang="en-US" sz="1400">
                          <a:latin typeface="微软雅黑" panose="020B0503020204020204" pitchFamily="34" charset="-122"/>
                          <a:ea typeface="微软雅黑" panose="020B0503020204020204" pitchFamily="34" charset="-122"/>
                          <a:sym typeface="+mn-ea"/>
                        </a:rPr>
                        <a:t>（</a:t>
                      </a:r>
                      <a:r>
                        <a:rPr lang="en-US" altLang="zh-CN" sz="1400">
                          <a:latin typeface="微软雅黑" panose="020B0503020204020204" pitchFamily="34" charset="-122"/>
                          <a:ea typeface="微软雅黑" panose="020B0503020204020204" pitchFamily="34" charset="-122"/>
                          <a:cs typeface="微软雅黑" panose="020B0503020204020204" pitchFamily="34" charset="-122"/>
                          <a:sym typeface="+mn-ea"/>
                        </a:rPr>
                        <a:t>2018</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版</a:t>
                      </a:r>
                      <a:r>
                        <a:rPr lang="zh-CN" altLang="en-US" sz="1400">
                          <a:latin typeface="微软雅黑" panose="020B0503020204020204" pitchFamily="34" charset="-122"/>
                          <a:ea typeface="微软雅黑" panose="020B0503020204020204" pitchFamily="34" charset="-122"/>
                          <a:sym typeface="+mn-ea"/>
                        </a:rPr>
                        <a:t>）</a:t>
                      </a:r>
                      <a:endParaRPr lang="zh-CN" altLang="en-US" sz="1400">
                        <a:latin typeface="微软雅黑" panose="020B0503020204020204" pitchFamily="34" charset="-122"/>
                        <a:ea typeface="微软雅黑" panose="020B0503020204020204" pitchFamily="34" charset="-122"/>
                        <a:sym typeface="+mn-ea"/>
                      </a:endParaRPr>
                    </a:p>
                  </a:txBody>
                  <a:tcPr anchor="ctr" anchorCtr="0"/>
                </a:tc>
                <a:tc>
                  <a:txBody>
                    <a:bodyPr/>
                    <a:p>
                      <a:pPr algn="l">
                        <a:buNone/>
                      </a:pP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遭遇小动脉出血时</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当涉及重要分支血管时，如豆纹动脉、脑干穿支动脉等</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可采用特定止血材料</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如再生氧化纤维素等</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压迫出血点</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当确定出血可以压迫止住后</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再用纤维蛋白黏合剂</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又称生物蛋白胶</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固定止血。</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algn="l">
                        <a:buNone/>
                      </a:pP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静脉性出血包括静脉或者静脉窦破裂出血，以及由回流静脉堵塞或损伤引起的静脉瘀滞性脑出血</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在静脉出血点采用再生氧化纤维素、流体明胶或明胶海绵进行压迫，继以纤维蛋白黏合剂</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又称生物蛋白胶</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固定止血</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通常可以有效地控制出血</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同时保持静脉血流通畅。</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algn="l">
                        <a:buNone/>
                      </a:pP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3</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纤维蛋白黏合剂止血不依赖患者的凝血功能</a:t>
                      </a:r>
                      <a:r>
                        <a:rPr lang="en-US" altLang="zh-CN"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因此可用于存在凝血功能障碍的患者的手术中</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同时，由于纤维蛋白可保护凝血酶不被肝素降解</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因此满足肝素化患者的围手术期止血需要。对颅底手术</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可以起到颅底重建时黏合止血的作用。</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nchorCtr="0"/>
                </a:tc>
              </a:tr>
              <a:tr h="732155">
                <a:tc rowSpan="2">
                  <a:txBody>
                    <a:bodyPr/>
                    <a:p>
                      <a:pPr algn="ctr">
                        <a:buNone/>
                      </a:pPr>
                      <a:r>
                        <a:rPr lang="en-US" altLang="zh-CN" sz="1400">
                          <a:latin typeface="微软雅黑" panose="020B0503020204020204" pitchFamily="34" charset="-122"/>
                          <a:ea typeface="微软雅黑" panose="020B0503020204020204" pitchFamily="34" charset="-122"/>
                        </a:rPr>
                        <a:t>3</a:t>
                      </a:r>
                      <a:endParaRPr lang="en-US" altLang="zh-CN" sz="1400">
                        <a:latin typeface="微软雅黑" panose="020B0503020204020204" pitchFamily="34" charset="-122"/>
                        <a:ea typeface="微软雅黑" panose="020B0503020204020204" pitchFamily="34" charset="-122"/>
                      </a:endParaRPr>
                    </a:p>
                  </a:txBody>
                  <a:tcPr anchor="ctr" anchorCtr="0"/>
                </a:tc>
                <a:tc rowSpan="2">
                  <a:txBody>
                    <a:bodyPr/>
                    <a:p>
                      <a:pPr algn="ctr">
                        <a:buNone/>
                      </a:pPr>
                      <a:r>
                        <a:rPr lang="zh-CN" altLang="en-US" sz="1400">
                          <a:latin typeface="微软雅黑" panose="020B0503020204020204" pitchFamily="34" charset="-122"/>
                          <a:ea typeface="微软雅黑" panose="020B0503020204020204" pitchFamily="34" charset="-122"/>
                        </a:rPr>
                        <a:t>脊柱外科</a:t>
                      </a:r>
                      <a:endParaRPr lang="zh-CN" altLang="en-US" sz="14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400">
                          <a:latin typeface="微软雅黑" panose="020B0503020204020204" pitchFamily="34" charset="-122"/>
                          <a:ea typeface="微软雅黑" panose="020B0503020204020204" pitchFamily="34" charset="-122"/>
                        </a:rPr>
                        <a:t>脊柱外科围手术期出血防治专家共识</a:t>
                      </a:r>
                      <a:r>
                        <a:rPr lang="zh-CN" altLang="en-US" sz="1400">
                          <a:latin typeface="微软雅黑" panose="020B0503020204020204" pitchFamily="34" charset="-122"/>
                          <a:ea typeface="微软雅黑" panose="020B0503020204020204" pitchFamily="34" charset="-122"/>
                          <a:sym typeface="+mn-ea"/>
                        </a:rPr>
                        <a:t>（</a:t>
                      </a:r>
                      <a:r>
                        <a:rPr lang="en-US" altLang="zh-CN" sz="1400">
                          <a:latin typeface="微软雅黑" panose="020B0503020204020204" pitchFamily="34" charset="-122"/>
                          <a:ea typeface="微软雅黑" panose="020B0503020204020204" pitchFamily="34" charset="-122"/>
                          <a:cs typeface="微软雅黑" panose="020B0503020204020204" pitchFamily="34" charset="-122"/>
                          <a:sym typeface="+mn-ea"/>
                        </a:rPr>
                        <a:t>2021</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版）</a:t>
                      </a:r>
                      <a:endPar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nchorCtr="0"/>
                </a:tc>
                <a:tc>
                  <a:txBody>
                    <a:bodyPr/>
                    <a:p>
                      <a:pPr algn="l">
                        <a:buClrTx/>
                        <a:buSzTx/>
                        <a:buFontTx/>
                        <a:buNone/>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纤维蛋白粘合剂适用于修复硬膜撕裂或作为创面轻中度出血的辅助止血材料，可用于凝血功能障碍患者</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algn="l">
                        <a:buClrTx/>
                        <a:buSzTx/>
                        <a:buFontTx/>
                        <a:buNone/>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脊柱手术时</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常会碰到常规外科操作仍然难以有效止血的情况,如</a:t>
                      </a:r>
                      <a:r>
                        <a:rPr lang="zh-CN" altLang="en-US" sz="120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手术部位较深(椎管内)的出血、广泛的弥漫性渗血</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等。可选用止血材料来实现止血，如纤维蛋白粘合剂。</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731520">
                <a:tc vMerge="1">
                  <a:tcPr anchor="ctr" anchorCtr="0"/>
                </a:tc>
                <a:tc vMerge="1">
                  <a:tcPr anchor="ctr" anchorCtr="0"/>
                </a:tc>
                <a:tc>
                  <a:txBody>
                    <a:bodyPr/>
                    <a:p>
                      <a:pPr algn="ctr">
                        <a:buNone/>
                      </a:pPr>
                      <a:r>
                        <a:rPr lang="zh-CN" altLang="en-US" sz="1400">
                          <a:latin typeface="微软雅黑" panose="020B0503020204020204" pitchFamily="34" charset="-122"/>
                          <a:ea typeface="微软雅黑" panose="020B0503020204020204" pitchFamily="34" charset="-122"/>
                        </a:rPr>
                        <a:t>脊柱手术硬脊膜破裂及术后脑脊液渗漏的循证临床诊疗指南</a:t>
                      </a:r>
                      <a:r>
                        <a:rPr lang="zh-CN" altLang="en-US" sz="1400">
                          <a:latin typeface="微软雅黑" panose="020B0503020204020204" pitchFamily="34" charset="-122"/>
                          <a:ea typeface="微软雅黑" panose="020B0503020204020204" pitchFamily="34" charset="-122"/>
                          <a:sym typeface="+mn-ea"/>
                        </a:rPr>
                        <a:t>（</a:t>
                      </a:r>
                      <a:r>
                        <a:rPr lang="en-US" altLang="zh-CN" sz="1400">
                          <a:latin typeface="微软雅黑" panose="020B0503020204020204" pitchFamily="34" charset="-122"/>
                          <a:ea typeface="微软雅黑" panose="020B0503020204020204" pitchFamily="34" charset="-122"/>
                          <a:cs typeface="微软雅黑" panose="020B0503020204020204" pitchFamily="34" charset="-122"/>
                          <a:sym typeface="+mn-ea"/>
                        </a:rPr>
                        <a:t>2017</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版</a:t>
                      </a:r>
                      <a:r>
                        <a:rPr lang="zh-CN" altLang="en-US" sz="1400">
                          <a:latin typeface="微软雅黑" panose="020B0503020204020204" pitchFamily="34" charset="-122"/>
                          <a:ea typeface="微软雅黑" panose="020B0503020204020204" pitchFamily="34" charset="-122"/>
                          <a:sym typeface="+mn-ea"/>
                        </a:rPr>
                        <a:t>）</a:t>
                      </a:r>
                      <a:endParaRPr lang="zh-CN" altLang="en-US" sz="1400">
                        <a:latin typeface="微软雅黑" panose="020B0503020204020204" pitchFamily="34" charset="-122"/>
                        <a:ea typeface="微软雅黑" panose="020B0503020204020204" pitchFamily="34" charset="-122"/>
                        <a:sym typeface="+mn-ea"/>
                      </a:endParaRPr>
                    </a:p>
                  </a:txBody>
                  <a:tcPr anchor="ctr" anchorCtr="0"/>
                </a:tc>
                <a:tc>
                  <a:txBody>
                    <a:bodyPr/>
                    <a:p>
                      <a:pPr algn="ctr">
                        <a:buNone/>
                      </a:pPr>
                      <a:r>
                        <a:rPr lang="en-US" altLang="zh-CN" sz="1600">
                          <a:latin typeface="微软雅黑" panose="020B0503020204020204" pitchFamily="34" charset="-122"/>
                          <a:ea typeface="微软雅黑" panose="020B0503020204020204" pitchFamily="34" charset="-122"/>
                        </a:rPr>
                        <a:t> </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脊柱外科术中使用纤维蛋白胶封闭可以减少脑脊液渗漏的发生率、减轻渗漏程度[推荐等级: B(建议采纳)]</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bl>
          </a:graphicData>
        </a:graphic>
      </p:graphicFrame>
      <p:sp>
        <p:nvSpPr>
          <p:cNvPr id="8" name="文本框 7"/>
          <p:cNvSpPr txBox="1"/>
          <p:nvPr/>
        </p:nvSpPr>
        <p:spPr>
          <a:xfrm>
            <a:off x="675005" y="772795"/>
            <a:ext cx="10234930" cy="407035"/>
          </a:xfrm>
          <a:prstGeom prst="rect">
            <a:avLst/>
          </a:prstGeom>
          <a:noFill/>
        </p:spPr>
        <p:txBody>
          <a:bodyPr wrap="square" rtlCol="0" anchor="t">
            <a:noAutofit/>
          </a:bodyPr>
          <a:p>
            <a:pPr indent="0" algn="l" fontAlgn="auto">
              <a:lnSpc>
                <a:spcPct val="150000"/>
              </a:lnSpc>
              <a:buFont typeface="Wingdings" panose="05000000000000000000" charset="0"/>
              <a:buNone/>
            </a:pPr>
            <a:r>
              <a:rPr lang="zh-CN" altLang="en-US" sz="2000" b="1">
                <a:latin typeface="Times New Roman" panose="02020603050405020304" charset="0"/>
                <a:ea typeface="微软雅黑" panose="020B0503020204020204" pitchFamily="34" charset="-122"/>
                <a:cs typeface="Times New Roman" panose="02020603050405020304" charset="0"/>
                <a:sym typeface="+mn-ea"/>
              </a:rPr>
              <a:t>获得多部临床诊疗指南或专家共识（如胸外科、神经外科、脊柱外科）一致性推荐</a:t>
            </a:r>
            <a:endParaRPr lang="zh-CN" altLang="en-US" sz="2000" b="1">
              <a:latin typeface="Times New Roman" panose="02020603050405020304" charset="0"/>
              <a:ea typeface="微软雅黑" panose="020B0503020204020204" pitchFamily="34" charset="-122"/>
              <a:cs typeface="Times New Roman" panose="02020603050405020304" charset="0"/>
              <a:sym typeface="+mn-ea"/>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40"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有效性</a:t>
            </a:r>
            <a:r>
              <a:rPr lang="zh-CN" altLang="en-US" sz="2700" dirty="0">
                <a:solidFill>
                  <a:srgbClr val="1A1918"/>
                </a:solidFill>
                <a:latin typeface="微软雅黑" panose="020B0503020204020204" pitchFamily="34" charset="-122"/>
                <a:ea typeface="微软雅黑" panose="020B0503020204020204" pitchFamily="34" charset="-122"/>
              </a:rPr>
              <a:t>（临床试验数据支持产品有效性）  </a:t>
            </a:r>
            <a:r>
              <a:rPr lang="en-US" altLang="zh-CN" sz="3200" dirty="0">
                <a:solidFill>
                  <a:srgbClr val="1A1918"/>
                </a:solidFill>
                <a:latin typeface="微软雅黑" panose="020B0503020204020204" pitchFamily="34" charset="-122"/>
                <a:ea typeface="微软雅黑" panose="020B0503020204020204" pitchFamily="34" charset="-122"/>
              </a:rPr>
              <a:t> </a:t>
            </a:r>
            <a:endParaRPr lang="zh-CN" altLang="en-US" sz="3200" dirty="0">
              <a:solidFill>
                <a:srgbClr val="FF0000"/>
              </a:solidFill>
              <a:latin typeface="微软雅黑" panose="020B0503020204020204" pitchFamily="34" charset="-122"/>
              <a:ea typeface="微软雅黑" panose="020B0503020204020204" pitchFamily="34" charset="-122"/>
            </a:endParaRPr>
          </a:p>
        </p:txBody>
      </p:sp>
      <p:sp>
        <p:nvSpPr>
          <p:cNvPr id="6" name="灯片编号占位符 5"/>
          <p:cNvSpPr>
            <a:spLocks noGrp="1"/>
          </p:cNvSpPr>
          <p:nvPr>
            <p:ph type="sldNum" sz="quarter" idx="4"/>
          </p:nvPr>
        </p:nvSpPr>
        <p:spPr/>
        <p:txBody>
          <a:bodyPr/>
          <a:lstStyle/>
          <a:p>
            <a:pPr defTabSz="1218565"/>
            <a:r>
              <a:rPr lang="en-US" altLang="ja-JP" dirty="0"/>
              <a:t>6</a:t>
            </a:r>
            <a:endParaRPr lang="ja-JP" altLang="en-US" dirty="0"/>
          </a:p>
        </p:txBody>
      </p:sp>
      <p:sp>
        <p:nvSpPr>
          <p:cNvPr id="12" name="椭圆 11"/>
          <p:cNvSpPr/>
          <p:nvPr/>
        </p:nvSpPr>
        <p:spPr>
          <a:xfrm>
            <a:off x="616186" y="315174"/>
            <a:ext cx="360000" cy="360000"/>
          </a:xfrm>
          <a:prstGeom prst="ellipse">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3</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0" name="矩形 9"/>
          <p:cNvSpPr/>
          <p:nvPr/>
        </p:nvSpPr>
        <p:spPr>
          <a:xfrm>
            <a:off x="136525" y="880745"/>
            <a:ext cx="5967095" cy="4948555"/>
          </a:xfrm>
          <a:prstGeom prst="rect">
            <a:avLst/>
          </a:prstGeom>
        </p:spPr>
        <p:txBody>
          <a:bodyPr wrap="square">
            <a:noAutofit/>
          </a:bodyPr>
          <a:p>
            <a:pPr marL="285750" indent="-285750" fontAlgn="auto">
              <a:lnSpc>
                <a:spcPts val="2800"/>
              </a:lnSpc>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试验药物：</a:t>
            </a:r>
            <a:r>
              <a:rPr lang="zh-CN" altLang="en-US" sz="1600" dirty="0">
                <a:latin typeface="微软雅黑" panose="020B0503020204020204" pitchFamily="34" charset="-122"/>
                <a:ea typeface="微软雅黑" panose="020B0503020204020204" pitchFamily="34" charset="-122"/>
              </a:rPr>
              <a:t>猪纤维蛋白粘合剂（</a:t>
            </a:r>
            <a:r>
              <a:rPr lang="zh-CN" altLang="en-US" sz="1600" dirty="0">
                <a:latin typeface="微软雅黑" panose="020B0503020204020204" pitchFamily="34" charset="-122"/>
                <a:ea typeface="微软雅黑" panose="020B0503020204020204" pitchFamily="34" charset="-122"/>
                <a:sym typeface="+mn-ea"/>
              </a:rPr>
              <a:t>上海利康瑞生物公司研发生产</a:t>
            </a:r>
            <a:r>
              <a:rPr lang="zh-CN" altLang="en-US"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又称</a:t>
            </a:r>
            <a:r>
              <a:rPr lang="zh-CN" altLang="en-US" sz="1600" dirty="0">
                <a:latin typeface="微软雅黑" panose="020B0503020204020204" pitchFamily="34" charset="-122"/>
                <a:ea typeface="微软雅黑" panose="020B0503020204020204" pitchFamily="34" charset="-122"/>
                <a:sym typeface="+mn-ea"/>
              </a:rPr>
              <a:t>纤维蛋白封闭剂</a:t>
            </a:r>
            <a:r>
              <a:rPr lang="zh-CN" altLang="en-US"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endParaRPr>
          </a:p>
          <a:p>
            <a:pPr marL="285750" indent="-285750" fontAlgn="auto">
              <a:lnSpc>
                <a:spcPts val="2800"/>
              </a:lnSpc>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病例</a:t>
            </a:r>
            <a:r>
              <a:rPr lang="zh-CN" altLang="en-US" sz="1600" dirty="0">
                <a:latin typeface="微软雅黑" panose="020B0503020204020204" pitchFamily="34" charset="-122"/>
                <a:ea typeface="微软雅黑" panose="020B0503020204020204" pitchFamily="34" charset="-122"/>
              </a:rPr>
              <a:t>：颅脑手术（胶质瘤</a:t>
            </a:r>
            <a:r>
              <a:rPr 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脑膜瘤</a:t>
            </a:r>
            <a:r>
              <a:rPr 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垂体瘤</a:t>
            </a:r>
            <a:r>
              <a:rPr 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脑外伤</a:t>
            </a:r>
            <a:r>
              <a:rPr lang="zh-CN" altLang="en-US" sz="1600" dirty="0">
                <a:latin typeface="微软雅黑" panose="020B0503020204020204" pitchFamily="34" charset="-122"/>
                <a:ea typeface="微软雅黑" panose="020B0503020204020204" pitchFamily="34" charset="-122"/>
              </a:rPr>
              <a:t>患者）</a:t>
            </a:r>
            <a:endParaRPr lang="zh-CN" altLang="en-US" sz="1600" dirty="0">
              <a:latin typeface="微软雅黑" panose="020B0503020204020204" pitchFamily="34" charset="-122"/>
              <a:ea typeface="微软雅黑" panose="020B0503020204020204" pitchFamily="34" charset="-122"/>
            </a:endParaRPr>
          </a:p>
          <a:p>
            <a:pPr marL="285750" indent="-285750" algn="l" fontAlgn="auto">
              <a:lnSpc>
                <a:spcPts val="2800"/>
              </a:lnSpc>
              <a:buFont typeface="Wingdings" panose="05000000000000000000" charset="0"/>
              <a:buChar char="Ø"/>
            </a:pPr>
            <a:r>
              <a:rPr lang="zh-CN" altLang="en-US" sz="1600" b="1" dirty="0">
                <a:latin typeface="微软雅黑" panose="020B0503020204020204" pitchFamily="34" charset="-122"/>
                <a:ea typeface="微软雅黑" panose="020B0503020204020204" pitchFamily="34" charset="-122"/>
                <a:sym typeface="+mn-ea"/>
              </a:rPr>
              <a:t>试验方案</a:t>
            </a:r>
            <a:r>
              <a:rPr lang="en-US" altLang="zh-CN" sz="1600" baseline="30000" dirty="0">
                <a:latin typeface="微软雅黑" panose="020B0503020204020204" pitchFamily="34" charset="-122"/>
                <a:ea typeface="微软雅黑" panose="020B0503020204020204" pitchFamily="34" charset="-122"/>
                <a:sym typeface="+mn-ea"/>
              </a:rPr>
              <a:t>1</a:t>
            </a:r>
            <a:r>
              <a:rPr lang="zh-CN" altLang="en-US" sz="1600" b="1" dirty="0">
                <a:latin typeface="微软雅黑" panose="020B0503020204020204" pitchFamily="34" charset="-122"/>
                <a:ea typeface="微软雅黑" panose="020B0503020204020204" pitchFamily="34" charset="-122"/>
                <a:sym typeface="+mn-ea"/>
              </a:rPr>
              <a:t>：</a:t>
            </a:r>
            <a:endParaRPr lang="zh-CN" altLang="en-US" sz="1600" b="1" dirty="0">
              <a:latin typeface="微软雅黑" panose="020B0503020204020204" pitchFamily="34" charset="-122"/>
              <a:ea typeface="微软雅黑" panose="020B0503020204020204" pitchFamily="34" charset="-122"/>
              <a:sym typeface="+mn-ea"/>
            </a:endParaRPr>
          </a:p>
          <a:p>
            <a:pPr indent="0" algn="l" fontAlgn="auto">
              <a:lnSpc>
                <a:spcPts val="2800"/>
              </a:lnSpc>
              <a:buFont typeface="Wingdings" panose="05000000000000000000" charset="0"/>
              <a:buNone/>
            </a:pPr>
            <a:r>
              <a:rPr lang="en-US" altLang="zh-CN" sz="1600" dirty="0">
                <a:latin typeface="微软雅黑" panose="020B0503020204020204" pitchFamily="34" charset="-122"/>
                <a:ea typeface="微软雅黑" panose="020B0503020204020204" pitchFamily="34" charset="-122"/>
                <a:sym typeface="+mn-ea"/>
              </a:rPr>
              <a:t>     </a:t>
            </a:r>
            <a:r>
              <a:rPr lang="zh-CN" altLang="en-US" sz="1600" dirty="0">
                <a:latin typeface="微软雅黑" panose="020B0503020204020204" pitchFamily="34" charset="-122"/>
                <a:ea typeface="微软雅黑" panose="020B0503020204020204" pitchFamily="34" charset="-122"/>
                <a:sym typeface="+mn-ea"/>
              </a:rPr>
              <a:t>试验组（</a:t>
            </a:r>
            <a:r>
              <a:rPr lang="en-US" altLang="zh-CN" sz="1600" dirty="0">
                <a:latin typeface="微软雅黑" panose="020B0503020204020204" pitchFamily="34" charset="-122"/>
                <a:ea typeface="微软雅黑" panose="020B0503020204020204" pitchFamily="34" charset="-122"/>
                <a:sym typeface="+mn-ea"/>
              </a:rPr>
              <a:t>60</a:t>
            </a:r>
            <a:r>
              <a:rPr lang="zh-CN" altLang="en-US" sz="1600" dirty="0">
                <a:latin typeface="微软雅黑" panose="020B0503020204020204" pitchFamily="34" charset="-122"/>
                <a:ea typeface="微软雅黑" panose="020B0503020204020204" pitchFamily="34" charset="-122"/>
                <a:sym typeface="+mn-ea"/>
              </a:rPr>
              <a:t>例）脑创面及</a:t>
            </a:r>
            <a:r>
              <a:rPr lang="zh-CN" altLang="en-US" sz="1600" dirty="0">
                <a:latin typeface="微软雅黑" panose="020B0503020204020204" pitchFamily="34" charset="-122"/>
                <a:ea typeface="微软雅黑" panose="020B0503020204020204" pitchFamily="34" charset="-122"/>
                <a:sym typeface="+mn-ea"/>
              </a:rPr>
              <a:t>硬膜缝合</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喷洒猪</a:t>
            </a:r>
            <a:r>
              <a:rPr lang="zh-CN" altLang="en-US" sz="1600" dirty="0">
                <a:latin typeface="微软雅黑" panose="020B0503020204020204" pitchFamily="34" charset="-122"/>
                <a:ea typeface="微软雅黑" panose="020B0503020204020204" pitchFamily="34" charset="-122"/>
                <a:sym typeface="+mn-ea"/>
              </a:rPr>
              <a:t>纤维蛋白粘合剂</a:t>
            </a:r>
            <a:r>
              <a:rPr lang="zh-CN" altLang="en-US"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sym typeface="+mn-ea"/>
            </a:endParaRPr>
          </a:p>
          <a:p>
            <a:pPr indent="0" algn="l" fontAlgn="auto">
              <a:lnSpc>
                <a:spcPts val="2800"/>
              </a:lnSpc>
              <a:buNone/>
            </a:pPr>
            <a:r>
              <a:rPr lang="en-US" altLang="zh-CN" sz="1600" dirty="0">
                <a:latin typeface="微软雅黑" panose="020B0503020204020204" pitchFamily="34" charset="-122"/>
                <a:ea typeface="微软雅黑" panose="020B0503020204020204" pitchFamily="34" charset="-122"/>
                <a:sym typeface="+mn-ea"/>
              </a:rPr>
              <a:t>     </a:t>
            </a:r>
            <a:r>
              <a:rPr lang="zh-CN" altLang="en-US" sz="1600" dirty="0">
                <a:latin typeface="微软雅黑" panose="020B0503020204020204" pitchFamily="34" charset="-122"/>
                <a:ea typeface="微软雅黑" panose="020B0503020204020204" pitchFamily="34" charset="-122"/>
                <a:sym typeface="+mn-ea"/>
              </a:rPr>
              <a:t>对照组</a:t>
            </a:r>
            <a:r>
              <a:rPr lang="zh-CN" altLang="en-US" sz="1600" dirty="0">
                <a:latin typeface="微软雅黑" panose="020B0503020204020204" pitchFamily="34" charset="-122"/>
                <a:ea typeface="微软雅黑" panose="020B0503020204020204" pitchFamily="34" charset="-122"/>
                <a:sym typeface="+mn-ea"/>
              </a:rPr>
              <a:t>（</a:t>
            </a:r>
            <a:r>
              <a:rPr lang="en-US" altLang="zh-CN" sz="1600" dirty="0">
                <a:latin typeface="微软雅黑" panose="020B0503020204020204" pitchFamily="34" charset="-122"/>
                <a:ea typeface="微软雅黑" panose="020B0503020204020204" pitchFamily="34" charset="-122"/>
                <a:sym typeface="+mn-ea"/>
              </a:rPr>
              <a:t>60</a:t>
            </a:r>
            <a:r>
              <a:rPr lang="zh-CN" altLang="en-US" sz="1600" dirty="0">
                <a:latin typeface="微软雅黑" panose="020B0503020204020204" pitchFamily="34" charset="-122"/>
                <a:ea typeface="微软雅黑" panose="020B0503020204020204" pitchFamily="34" charset="-122"/>
                <a:sym typeface="+mn-ea"/>
              </a:rPr>
              <a:t>例）</a:t>
            </a:r>
            <a:r>
              <a:rPr lang="zh-CN" altLang="en-US"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硬膜缝合</a:t>
            </a:r>
            <a:endParaRPr lang="zh-CN" altLang="en-US" sz="1600" dirty="0">
              <a:latin typeface="微软雅黑" panose="020B0503020204020204" pitchFamily="34" charset="-122"/>
              <a:ea typeface="微软雅黑" panose="020B0503020204020204" pitchFamily="34" charset="-122"/>
              <a:sym typeface="+mn-ea"/>
            </a:endParaRPr>
          </a:p>
          <a:p>
            <a:pPr marL="285750" indent="-285750" fontAlgn="auto">
              <a:lnSpc>
                <a:spcPts val="2800"/>
              </a:lnSpc>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sym typeface="+mn-ea"/>
              </a:rPr>
              <a:t>试验结果</a:t>
            </a:r>
            <a:r>
              <a:rPr lang="zh-CN" altLang="en-US"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sym typeface="+mn-ea"/>
            </a:endParaRPr>
          </a:p>
          <a:p>
            <a:pPr marL="285750" indent="-285750" fontAlgn="auto">
              <a:lnSpc>
                <a:spcPts val="2800"/>
              </a:lnSpc>
              <a:buFont typeface="Wingdings" panose="05000000000000000000" pitchFamily="2" charset="2"/>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fontAlgn="auto">
              <a:lnSpc>
                <a:spcPts val="2800"/>
              </a:lnSpc>
              <a:buFont typeface="Wingdings" panose="05000000000000000000" pitchFamily="2" charset="2"/>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fontAlgn="auto">
              <a:lnSpc>
                <a:spcPts val="2800"/>
              </a:lnSpc>
              <a:buFont typeface="Wingdings" panose="05000000000000000000" pitchFamily="2" charset="2"/>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fontAlgn="auto">
              <a:lnSpc>
                <a:spcPts val="2800"/>
              </a:lnSpc>
              <a:buFont typeface="Wingdings" panose="05000000000000000000" pitchFamily="2" charset="2"/>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fontAlgn="auto">
              <a:lnSpc>
                <a:spcPts val="2800"/>
              </a:lnSpc>
              <a:buFont typeface="Wingdings" panose="05000000000000000000" pitchFamily="2" charset="2"/>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fontAlgn="auto">
              <a:lnSpc>
                <a:spcPts val="2800"/>
              </a:lnSpc>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试验结论：</a:t>
            </a:r>
            <a:r>
              <a:rPr lang="zh-CN" altLang="en-US" sz="1600" dirty="0">
                <a:latin typeface="微软雅黑" panose="020B0503020204020204" pitchFamily="34" charset="-122"/>
                <a:ea typeface="微软雅黑" panose="020B0503020204020204" pitchFamily="34" charset="-122"/>
              </a:rPr>
              <a:t>在防治脑脊液漏方面，实验组和对照组比较有明显统计学差别，能够减少病人的术后并发症，缩短住院时间。</a:t>
            </a:r>
            <a:endParaRPr lang="zh-CN" altLang="en-US" sz="1600" dirty="0">
              <a:latin typeface="微软雅黑" panose="020B0503020204020204" pitchFamily="34" charset="-122"/>
              <a:ea typeface="微软雅黑" panose="020B0503020204020204" pitchFamily="34" charset="-122"/>
            </a:endParaRPr>
          </a:p>
        </p:txBody>
      </p:sp>
      <p:graphicFrame>
        <p:nvGraphicFramePr>
          <p:cNvPr id="13" name="表格 12"/>
          <p:cNvGraphicFramePr/>
          <p:nvPr>
            <p:custDataLst>
              <p:tags r:id="rId5"/>
            </p:custDataLst>
          </p:nvPr>
        </p:nvGraphicFramePr>
        <p:xfrm>
          <a:off x="372110" y="3498850"/>
          <a:ext cx="5380990" cy="1660525"/>
        </p:xfrm>
        <a:graphic>
          <a:graphicData uri="http://schemas.openxmlformats.org/drawingml/2006/table">
            <a:tbl>
              <a:tblPr firstRow="1">
                <a:tableStyleId>{3B4B98B0-60AC-42C2-AFA5-B58CD77FA1E5}</a:tableStyleId>
              </a:tblPr>
              <a:tblGrid>
                <a:gridCol w="1836420"/>
                <a:gridCol w="1249045"/>
                <a:gridCol w="1329055"/>
                <a:gridCol w="966470"/>
              </a:tblGrid>
              <a:tr h="332105">
                <a:tc>
                  <a:txBody>
                    <a:bodyPr/>
                    <a:p>
                      <a:pPr algn="ctr">
                        <a:buNone/>
                      </a:pPr>
                      <a:r>
                        <a:rPr lang="zh-CN" altLang="en-US" sz="1200">
                          <a:latin typeface="微软雅黑" panose="020B0503020204020204" pitchFamily="34" charset="-122"/>
                          <a:ea typeface="微软雅黑" panose="020B0503020204020204" pitchFamily="34" charset="-122"/>
                        </a:rPr>
                        <a:t>指标</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200">
                          <a:latin typeface="微软雅黑" panose="020B0503020204020204" pitchFamily="34" charset="-122"/>
                          <a:ea typeface="微软雅黑" panose="020B0503020204020204" pitchFamily="34" charset="-122"/>
                        </a:rPr>
                        <a:t>试验组</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200">
                          <a:latin typeface="微软雅黑" panose="020B0503020204020204" pitchFamily="34" charset="-122"/>
                          <a:ea typeface="微软雅黑" panose="020B0503020204020204" pitchFamily="34" charset="-122"/>
                        </a:rPr>
                        <a:t>对照组</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P</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值</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332105">
                <a:tc>
                  <a:txBody>
                    <a:bodyPr/>
                    <a:p>
                      <a:pPr algn="ctr">
                        <a:buNone/>
                      </a:pPr>
                      <a:r>
                        <a:rPr lang="zh-CN" altLang="en-US" sz="1200">
                          <a:latin typeface="微软雅黑" panose="020B0503020204020204" pitchFamily="34" charset="-122"/>
                          <a:ea typeface="微软雅黑" panose="020B0503020204020204" pitchFamily="34" charset="-122"/>
                        </a:rPr>
                        <a:t>脑创面止血时间</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9.5</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2.6min</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26.3</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3.1min</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P</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0.05</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332105">
                <a:tc>
                  <a:txBody>
                    <a:bodyPr/>
                    <a:p>
                      <a:pPr algn="ctr">
                        <a:buNone/>
                      </a:pPr>
                      <a:r>
                        <a:rPr lang="zh-CN" altLang="en-US" sz="1200">
                          <a:latin typeface="微软雅黑" panose="020B0503020204020204" pitchFamily="34" charset="-122"/>
                          <a:ea typeface="微软雅黑" panose="020B0503020204020204" pitchFamily="34" charset="-122"/>
                        </a:rPr>
                        <a:t>硬膜关闭后止血时间</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6.9</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1.9min</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18.6</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1.3min</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P</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0.05</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332105">
                <a:tc>
                  <a:txBody>
                    <a:bodyPr/>
                    <a:p>
                      <a:pPr algn="ctr">
                        <a:buNone/>
                      </a:pPr>
                      <a:r>
                        <a:rPr lang="zh-CN" altLang="en-US" sz="1200">
                          <a:latin typeface="微软雅黑" panose="020B0503020204020204" pitchFamily="34" charset="-122"/>
                          <a:ea typeface="微软雅黑" panose="020B0503020204020204" pitchFamily="34" charset="-122"/>
                        </a:rPr>
                        <a:t>脑脊液漏</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en-US" sz="1200">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例</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sz="1200">
                          <a:latin typeface="微软雅黑" panose="020B0503020204020204" pitchFamily="34" charset="-122"/>
                          <a:ea typeface="微软雅黑" panose="020B0503020204020204" pitchFamily="34" charset="-122"/>
                          <a:cs typeface="微软雅黑" panose="020B0503020204020204" pitchFamily="34" charset="-122"/>
                        </a:rPr>
                        <a:t>8</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例</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rowSpan="2">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P</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0.05</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332105">
                <a:tc>
                  <a:txBody>
                    <a:bodyPr/>
                    <a:p>
                      <a:pPr algn="ctr">
                        <a:buNone/>
                      </a:pPr>
                      <a:r>
                        <a:rPr lang="zh-CN" altLang="en-US" sz="1200">
                          <a:latin typeface="微软雅黑" panose="020B0503020204020204" pitchFamily="34" charset="-122"/>
                          <a:ea typeface="微软雅黑" panose="020B0503020204020204" pitchFamily="34" charset="-122"/>
                        </a:rPr>
                        <a:t>硬膜外积液</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2例</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9例</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vMerge="1">
                  <a:tcPr/>
                </a:tc>
              </a:tr>
            </a:tbl>
          </a:graphicData>
        </a:graphic>
      </p:graphicFrame>
      <p:cxnSp>
        <p:nvCxnSpPr>
          <p:cNvPr id="14" name="直接连接符 13"/>
          <p:cNvCxnSpPr/>
          <p:nvPr/>
        </p:nvCxnSpPr>
        <p:spPr>
          <a:xfrm>
            <a:off x="6210935" y="965835"/>
            <a:ext cx="0" cy="4975225"/>
          </a:xfrm>
          <a:prstGeom prst="line">
            <a:avLst/>
          </a:prstGeom>
          <a:ln>
            <a:solidFill>
              <a:srgbClr val="FF0000"/>
            </a:solidFill>
            <a:prstDash val="sysDash"/>
          </a:ln>
        </p:spPr>
        <p:style>
          <a:lnRef idx="2">
            <a:schemeClr val="accent1"/>
          </a:lnRef>
          <a:fillRef idx="0">
            <a:srgbClr val="FFFFFF"/>
          </a:fillRef>
          <a:effectRef idx="0">
            <a:srgbClr val="FFFFFF"/>
          </a:effectRef>
          <a:fontRef idx="minor">
            <a:schemeClr val="tx1"/>
          </a:fontRef>
        </p:style>
      </p:cxnSp>
      <p:sp>
        <p:nvSpPr>
          <p:cNvPr id="16" name="矩形 15"/>
          <p:cNvSpPr/>
          <p:nvPr/>
        </p:nvSpPr>
        <p:spPr>
          <a:xfrm>
            <a:off x="6301105" y="867410"/>
            <a:ext cx="5332730" cy="5851525"/>
          </a:xfrm>
          <a:prstGeom prst="rect">
            <a:avLst/>
          </a:prstGeom>
        </p:spPr>
        <p:txBody>
          <a:bodyPr wrap="square">
            <a:noAutofit/>
          </a:bodyPr>
          <a:p>
            <a:pPr marL="285750" indent="-285750" fontAlgn="auto">
              <a:lnSpc>
                <a:spcPts val="2700"/>
              </a:lnSpc>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试验药物：</a:t>
            </a:r>
            <a:r>
              <a:rPr lang="zh-CN" altLang="en-US" sz="1600" dirty="0">
                <a:latin typeface="微软雅黑" panose="020B0503020204020204" pitchFamily="34" charset="-122"/>
                <a:ea typeface="微软雅黑" panose="020B0503020204020204" pitchFamily="34" charset="-122"/>
                <a:sym typeface="+mn-ea"/>
              </a:rPr>
              <a:t>猪纤维蛋白粘合剂（</a:t>
            </a:r>
            <a:r>
              <a:rPr lang="zh-CN" altLang="en-US" sz="1600" dirty="0">
                <a:latin typeface="微软雅黑" panose="020B0503020204020204" pitchFamily="34" charset="-122"/>
                <a:ea typeface="微软雅黑" panose="020B0503020204020204" pitchFamily="34" charset="-122"/>
                <a:sym typeface="+mn-ea"/>
              </a:rPr>
              <a:t>上海利康瑞生物公司研发生产</a:t>
            </a:r>
            <a:r>
              <a:rPr lang="zh-CN" altLang="en-US" sz="1600" dirty="0">
                <a:latin typeface="微软雅黑" panose="020B0503020204020204" pitchFamily="34" charset="-122"/>
                <a:ea typeface="微软雅黑" panose="020B0503020204020204" pitchFamily="34" charset="-122"/>
                <a:sym typeface="+mn-ea"/>
              </a:rPr>
              <a:t>，又称</a:t>
            </a:r>
            <a:r>
              <a:rPr lang="zh-CN" altLang="en-US" sz="1600" dirty="0">
                <a:latin typeface="微软雅黑" panose="020B0503020204020204" pitchFamily="34" charset="-122"/>
                <a:ea typeface="微软雅黑" panose="020B0503020204020204" pitchFamily="34" charset="-122"/>
                <a:sym typeface="+mn-ea"/>
              </a:rPr>
              <a:t>纤维蛋白封闭剂</a:t>
            </a:r>
            <a:r>
              <a:rPr lang="zh-CN" altLang="en-US"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endParaRPr>
          </a:p>
          <a:p>
            <a:pPr marL="285750" indent="-285750" fontAlgn="auto">
              <a:lnSpc>
                <a:spcPts val="2700"/>
              </a:lnSpc>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sym typeface="+mn-ea"/>
              </a:rPr>
              <a:t>病例</a:t>
            </a:r>
            <a:r>
              <a:rPr lang="zh-CN" altLang="en-US" sz="1600" dirty="0">
                <a:latin typeface="微软雅黑" panose="020B0503020204020204" pitchFamily="34" charset="-122"/>
                <a:ea typeface="微软雅黑" panose="020B0503020204020204" pitchFamily="34" charset="-122"/>
                <a:sym typeface="+mn-ea"/>
              </a:rPr>
              <a:t>：心包剥脱术患者</a:t>
            </a:r>
            <a:endParaRPr lang="zh-CN" altLang="en-US" sz="1600" dirty="0">
              <a:latin typeface="微软雅黑" panose="020B0503020204020204" pitchFamily="34" charset="-122"/>
              <a:ea typeface="微软雅黑" panose="020B0503020204020204" pitchFamily="34" charset="-122"/>
            </a:endParaRPr>
          </a:p>
          <a:p>
            <a:pPr marL="285750" indent="-285750" algn="l" fontAlgn="auto">
              <a:lnSpc>
                <a:spcPts val="2700"/>
              </a:lnSpc>
              <a:buFont typeface="Wingdings" panose="05000000000000000000" charset="0"/>
              <a:buChar char="Ø"/>
            </a:pPr>
            <a:r>
              <a:rPr lang="zh-CN" altLang="en-US" sz="1600" b="1" dirty="0">
                <a:latin typeface="微软雅黑" panose="020B0503020204020204" pitchFamily="34" charset="-122"/>
                <a:ea typeface="微软雅黑" panose="020B0503020204020204" pitchFamily="34" charset="-122"/>
                <a:sym typeface="+mn-ea"/>
              </a:rPr>
              <a:t>试验方案</a:t>
            </a:r>
            <a:r>
              <a:rPr lang="en-US" altLang="zh-CN" sz="1600" baseline="30000" dirty="0">
                <a:latin typeface="微软雅黑" panose="020B0503020204020204" pitchFamily="34" charset="-122"/>
                <a:ea typeface="微软雅黑" panose="020B0503020204020204" pitchFamily="34" charset="-122"/>
                <a:sym typeface="+mn-ea"/>
              </a:rPr>
              <a:t>2</a:t>
            </a:r>
            <a:r>
              <a:rPr lang="zh-CN" altLang="en-US" sz="1600" b="1"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试验组</a:t>
            </a:r>
            <a:r>
              <a:rPr lang="en-US" altLang="zh-CN" sz="1600" dirty="0">
                <a:latin typeface="微软雅黑" panose="020B0503020204020204" pitchFamily="34" charset="-122"/>
                <a:ea typeface="微软雅黑" panose="020B0503020204020204" pitchFamily="34" charset="-122"/>
                <a:sym typeface="+mn-ea"/>
              </a:rPr>
              <a:t>(24</a:t>
            </a:r>
            <a:r>
              <a:rPr lang="zh-CN" altLang="en-US" sz="1600" dirty="0">
                <a:latin typeface="微软雅黑" panose="020B0503020204020204" pitchFamily="34" charset="-122"/>
                <a:ea typeface="微软雅黑" panose="020B0503020204020204" pitchFamily="34" charset="-122"/>
                <a:sym typeface="+mn-ea"/>
              </a:rPr>
              <a:t>例</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受试药物喷涂在心脏创面</a:t>
            </a:r>
            <a:r>
              <a:rPr lang="en-US" altLang="zh-CN" sz="1600" dirty="0">
                <a:latin typeface="微软雅黑" panose="020B0503020204020204" pitchFamily="34" charset="-122"/>
                <a:ea typeface="微软雅黑" panose="020B0503020204020204" pitchFamily="34" charset="-122"/>
                <a:sym typeface="+mn-ea"/>
              </a:rPr>
              <a:t> </a:t>
            </a:r>
            <a:r>
              <a:rPr lang="zh-CN" altLang="en-US" sz="1600" dirty="0">
                <a:latin typeface="微软雅黑" panose="020B0503020204020204" pitchFamily="34" charset="-122"/>
                <a:ea typeface="微软雅黑" panose="020B0503020204020204" pitchFamily="34" charset="-122"/>
                <a:sym typeface="+mn-ea"/>
              </a:rPr>
              <a:t>及胸骨骨髓腔内</a:t>
            </a:r>
            <a:r>
              <a:rPr lang="en-US" altLang="zh-CN" sz="1600" dirty="0">
                <a:latin typeface="微软雅黑" panose="020B0503020204020204" pitchFamily="34" charset="-122"/>
                <a:ea typeface="微软雅黑" panose="020B0503020204020204" pitchFamily="34" charset="-122"/>
                <a:sym typeface="+mn-ea"/>
              </a:rPr>
              <a:t> </a:t>
            </a:r>
            <a:endParaRPr lang="en-US" altLang="zh-CN" sz="1600" dirty="0">
              <a:latin typeface="微软雅黑" panose="020B0503020204020204" pitchFamily="34" charset="-122"/>
              <a:ea typeface="微软雅黑" panose="020B0503020204020204" pitchFamily="34" charset="-122"/>
              <a:sym typeface="+mn-ea"/>
            </a:endParaRPr>
          </a:p>
          <a:p>
            <a:pPr indent="0" algn="l" fontAlgn="auto">
              <a:lnSpc>
                <a:spcPts val="2700"/>
              </a:lnSpc>
              <a:buFont typeface="Wingdings" panose="05000000000000000000" charset="0"/>
              <a:buNone/>
            </a:pPr>
            <a:r>
              <a:rPr lang="en-US" altLang="zh-CN" sz="1600" dirty="0">
                <a:latin typeface="微软雅黑" panose="020B0503020204020204" pitchFamily="34" charset="-122"/>
                <a:ea typeface="微软雅黑" panose="020B0503020204020204" pitchFamily="34" charset="-122"/>
                <a:sym typeface="+mn-ea"/>
              </a:rPr>
              <a:t>     </a:t>
            </a:r>
            <a:r>
              <a:rPr lang="zh-CN" altLang="en-US" sz="1600" dirty="0">
                <a:latin typeface="微软雅黑" panose="020B0503020204020204" pitchFamily="34" charset="-122"/>
                <a:ea typeface="微软雅黑" panose="020B0503020204020204" pitchFamily="34" charset="-122"/>
                <a:sym typeface="+mn-ea"/>
              </a:rPr>
              <a:t>对照组</a:t>
            </a:r>
            <a:r>
              <a:rPr lang="en-US" altLang="zh-CN" sz="1600" dirty="0">
                <a:latin typeface="微软雅黑" panose="020B0503020204020204" pitchFamily="34" charset="-122"/>
                <a:ea typeface="微软雅黑" panose="020B0503020204020204" pitchFamily="34" charset="-122"/>
                <a:sym typeface="+mn-ea"/>
              </a:rPr>
              <a:t>(24</a:t>
            </a:r>
            <a:r>
              <a:rPr lang="zh-CN" altLang="en-US" sz="1600" dirty="0">
                <a:latin typeface="微软雅黑" panose="020B0503020204020204" pitchFamily="34" charset="-122"/>
                <a:ea typeface="微软雅黑" panose="020B0503020204020204" pitchFamily="34" charset="-122"/>
                <a:sym typeface="+mn-ea"/>
              </a:rPr>
              <a:t>例</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骨蜡涂抹于胸骨创面</a:t>
            </a:r>
            <a:endParaRPr lang="zh-CN" altLang="en-US" sz="1600" dirty="0">
              <a:latin typeface="微软雅黑" panose="020B0503020204020204" pitchFamily="34" charset="-122"/>
              <a:ea typeface="微软雅黑" panose="020B0503020204020204" pitchFamily="34" charset="-122"/>
              <a:sym typeface="+mn-ea"/>
            </a:endParaRPr>
          </a:p>
          <a:p>
            <a:pPr marL="285750" indent="-285750" algn="l" fontAlgn="auto">
              <a:lnSpc>
                <a:spcPts val="2700"/>
              </a:lnSpc>
              <a:buFont typeface="Wingdings" panose="05000000000000000000" charset="0"/>
              <a:buChar char="Ø"/>
            </a:pPr>
            <a:r>
              <a:rPr lang="zh-CN" altLang="en-US" sz="1600" b="1" dirty="0">
                <a:latin typeface="微软雅黑" panose="020B0503020204020204" pitchFamily="34" charset="-122"/>
                <a:ea typeface="微软雅黑" panose="020B0503020204020204" pitchFamily="34" charset="-122"/>
                <a:sym typeface="+mn-ea"/>
              </a:rPr>
              <a:t>试验结果</a:t>
            </a:r>
            <a:r>
              <a:rPr lang="zh-CN" altLang="en-US"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sym typeface="+mn-ea"/>
            </a:endParaRPr>
          </a:p>
          <a:p>
            <a:pPr marL="285750" indent="-285750" algn="l" fontAlgn="auto">
              <a:lnSpc>
                <a:spcPts val="2600"/>
              </a:lnSpc>
              <a:buFont typeface="Wingdings" panose="05000000000000000000" charset="0"/>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algn="l" fontAlgn="auto">
              <a:lnSpc>
                <a:spcPts val="2600"/>
              </a:lnSpc>
              <a:buFont typeface="Wingdings" panose="05000000000000000000" charset="0"/>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algn="l" fontAlgn="auto">
              <a:lnSpc>
                <a:spcPts val="2600"/>
              </a:lnSpc>
              <a:buFont typeface="Wingdings" panose="05000000000000000000" charset="0"/>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algn="l" fontAlgn="auto">
              <a:lnSpc>
                <a:spcPts val="2600"/>
              </a:lnSpc>
              <a:buFont typeface="Wingdings" panose="05000000000000000000" charset="0"/>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algn="l" fontAlgn="auto">
              <a:lnSpc>
                <a:spcPts val="2600"/>
              </a:lnSpc>
              <a:buFont typeface="Wingdings" panose="05000000000000000000" charset="0"/>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algn="l" fontAlgn="auto">
              <a:lnSpc>
                <a:spcPts val="2600"/>
              </a:lnSpc>
              <a:buFont typeface="Wingdings" panose="05000000000000000000" charset="0"/>
              <a:buChar char="Ø"/>
            </a:pPr>
            <a:endParaRPr lang="zh-CN" altLang="en-US" sz="1600" dirty="0">
              <a:latin typeface="微软雅黑" panose="020B0503020204020204" pitchFamily="34" charset="-122"/>
              <a:ea typeface="微软雅黑" panose="020B0503020204020204" pitchFamily="34" charset="-122"/>
              <a:sym typeface="+mn-ea"/>
            </a:endParaRPr>
          </a:p>
          <a:p>
            <a:pPr marL="285750" indent="-285750" algn="l" fontAlgn="auto">
              <a:lnSpc>
                <a:spcPts val="2600"/>
              </a:lnSpc>
              <a:buFont typeface="Wingdings" panose="05000000000000000000" charset="0"/>
              <a:buChar char="Ø"/>
            </a:pPr>
            <a:r>
              <a:rPr lang="zh-CN" altLang="en-US" sz="1600" b="1" dirty="0">
                <a:latin typeface="微软雅黑" panose="020B0503020204020204" pitchFamily="34" charset="-122"/>
                <a:ea typeface="微软雅黑" panose="020B0503020204020204" pitchFamily="34" charset="-122"/>
                <a:sym typeface="+mn-ea"/>
              </a:rPr>
              <a:t>试验结论</a:t>
            </a:r>
            <a:r>
              <a:rPr lang="zh-CN" altLang="en-US"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受试药物</a:t>
            </a:r>
            <a:r>
              <a:rPr lang="zh-CN" altLang="en-US" sz="1600" dirty="0">
                <a:latin typeface="微软雅黑" panose="020B0503020204020204" pitchFamily="34" charset="-122"/>
                <a:ea typeface="微软雅黑" panose="020B0503020204020204" pitchFamily="34" charset="-122"/>
              </a:rPr>
              <a:t>可以减少血肿</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并可减少和控制创伤炎症反应，促进胸骨的愈合</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预防感染</a:t>
            </a:r>
            <a:r>
              <a:rPr lang="zh-CN" sz="1600" dirty="0">
                <a:latin typeface="微软雅黑" panose="020B0503020204020204" pitchFamily="34" charset="-122"/>
                <a:ea typeface="微软雅黑" panose="020B0503020204020204" pitchFamily="34" charset="-122"/>
              </a:rPr>
              <a:t>。</a:t>
            </a:r>
            <a:endParaRPr lang="zh-CN" sz="1600" dirty="0">
              <a:latin typeface="微软雅黑" panose="020B0503020204020204" pitchFamily="34" charset="-122"/>
              <a:ea typeface="微软雅黑" panose="020B0503020204020204" pitchFamily="34" charset="-122"/>
            </a:endParaRPr>
          </a:p>
        </p:txBody>
      </p:sp>
      <p:graphicFrame>
        <p:nvGraphicFramePr>
          <p:cNvPr id="17" name="表格 16"/>
          <p:cNvGraphicFramePr/>
          <p:nvPr>
            <p:custDataLst>
              <p:tags r:id="rId6"/>
            </p:custDataLst>
          </p:nvPr>
        </p:nvGraphicFramePr>
        <p:xfrm>
          <a:off x="6516370" y="3419475"/>
          <a:ext cx="5282565" cy="1911350"/>
        </p:xfrm>
        <a:graphic>
          <a:graphicData uri="http://schemas.openxmlformats.org/drawingml/2006/table">
            <a:tbl>
              <a:tblPr firstRow="1">
                <a:tableStyleId>{3B4B98B0-60AC-42C2-AFA5-B58CD77FA1E5}</a:tableStyleId>
              </a:tblPr>
              <a:tblGrid>
                <a:gridCol w="1678940"/>
                <a:gridCol w="1366520"/>
                <a:gridCol w="1288415"/>
                <a:gridCol w="948690"/>
              </a:tblGrid>
              <a:tr h="274320">
                <a:tc>
                  <a:txBody>
                    <a:bodyPr/>
                    <a:p>
                      <a:pPr algn="ctr">
                        <a:buNone/>
                      </a:pPr>
                      <a:r>
                        <a:rPr lang="zh-CN" altLang="en-US" sz="1200">
                          <a:latin typeface="微软雅黑" panose="020B0503020204020204" pitchFamily="34" charset="-122"/>
                          <a:ea typeface="微软雅黑" panose="020B0503020204020204" pitchFamily="34" charset="-122"/>
                        </a:rPr>
                        <a:t>指标</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200">
                          <a:latin typeface="微软雅黑" panose="020B0503020204020204" pitchFamily="34" charset="-122"/>
                          <a:ea typeface="微软雅黑" panose="020B0503020204020204" pitchFamily="34" charset="-122"/>
                        </a:rPr>
                        <a:t>试验组</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200">
                          <a:latin typeface="微软雅黑" panose="020B0503020204020204" pitchFamily="34" charset="-122"/>
                          <a:ea typeface="微软雅黑" panose="020B0503020204020204" pitchFamily="34" charset="-122"/>
                        </a:rPr>
                        <a:t>对照组</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P</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值</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274320">
                <a:tc>
                  <a:txBody>
                    <a:bodyPr/>
                    <a:p>
                      <a:pPr algn="ctr">
                        <a:buNone/>
                      </a:pPr>
                      <a:r>
                        <a:rPr lang="zh-CN" altLang="en-US" sz="1200">
                          <a:latin typeface="微软雅黑" panose="020B0503020204020204" pitchFamily="34" charset="-122"/>
                          <a:ea typeface="微软雅黑" panose="020B0503020204020204" pitchFamily="34" charset="-122"/>
                        </a:rPr>
                        <a:t>第</a:t>
                      </a:r>
                      <a:r>
                        <a:rPr lang="en-US" altLang="zh-CN" sz="1200">
                          <a:latin typeface="微软雅黑" panose="020B0503020204020204" pitchFamily="34" charset="-122"/>
                          <a:ea typeface="微软雅黑" panose="020B0503020204020204" pitchFamily="34" charset="-122"/>
                        </a:rPr>
                        <a:t>1</a:t>
                      </a:r>
                      <a:r>
                        <a:rPr lang="zh-CN" altLang="en-US" sz="1200">
                          <a:latin typeface="微软雅黑" panose="020B0503020204020204" pitchFamily="34" charset="-122"/>
                          <a:ea typeface="微软雅黑" panose="020B0503020204020204" pitchFamily="34" charset="-122"/>
                        </a:rPr>
                        <a:t>天引流量</a:t>
                      </a:r>
                      <a:r>
                        <a:rPr lang="en-US" altLang="zh-CN" sz="1200">
                          <a:latin typeface="微软雅黑" panose="020B0503020204020204" pitchFamily="34" charset="-122"/>
                          <a:ea typeface="微软雅黑" panose="020B0503020204020204" pitchFamily="34" charset="-122"/>
                        </a:rPr>
                        <a:t>ml</a:t>
                      </a:r>
                      <a:endParaRPr lang="en-US" altLang="zh-CN"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191.32</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30.73</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313.42</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45.69</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0.01</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457200">
                <a:tc>
                  <a:txBody>
                    <a:bodyPr/>
                    <a:p>
                      <a:pPr algn="ctr">
                        <a:buNone/>
                      </a:pPr>
                      <a:r>
                        <a:rPr lang="zh-CN" altLang="en-US" sz="1200">
                          <a:latin typeface="微软雅黑" panose="020B0503020204020204" pitchFamily="34" charset="-122"/>
                          <a:ea typeface="微软雅黑" panose="020B0503020204020204" pitchFamily="34" charset="-122"/>
                        </a:rPr>
                        <a:t>总引流量</a:t>
                      </a:r>
                      <a:r>
                        <a:rPr lang="en-US" altLang="zh-CN" sz="1200">
                          <a:latin typeface="微软雅黑" panose="020B0503020204020204" pitchFamily="34" charset="-122"/>
                          <a:ea typeface="微软雅黑" panose="020B0503020204020204" pitchFamily="34" charset="-122"/>
                        </a:rPr>
                        <a:t>ml</a:t>
                      </a:r>
                      <a:endParaRPr lang="en-US" altLang="zh-CN"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360.83</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71.82</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522.92</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60.84</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0.01</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p>
                      <a:pPr algn="ctr">
                        <a:buNone/>
                      </a:pP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356870">
                <a:tc>
                  <a:txBody>
                    <a:bodyPr/>
                    <a:p>
                      <a:pPr algn="ctr">
                        <a:buNone/>
                      </a:pPr>
                      <a:r>
                        <a:rPr lang="zh-CN" altLang="en-US" sz="1200">
                          <a:latin typeface="微软雅黑" panose="020B0503020204020204" pitchFamily="34" charset="-122"/>
                          <a:ea typeface="微软雅黑" panose="020B0503020204020204" pitchFamily="34" charset="-122"/>
                        </a:rPr>
                        <a:t>引流液血红蛋白（</a:t>
                      </a:r>
                      <a:r>
                        <a:rPr lang="en-US" altLang="zh-CN" sz="1200">
                          <a:latin typeface="微软雅黑" panose="020B0503020204020204" pitchFamily="34" charset="-122"/>
                          <a:ea typeface="微软雅黑" panose="020B0503020204020204" pitchFamily="34" charset="-122"/>
                        </a:rPr>
                        <a:t>g/L</a:t>
                      </a:r>
                      <a:r>
                        <a:rPr lang="zh-CN" altLang="en-US" sz="1200">
                          <a:latin typeface="微软雅黑" panose="020B0503020204020204" pitchFamily="34" charset="-122"/>
                          <a:ea typeface="微软雅黑" panose="020B0503020204020204" pitchFamily="34" charset="-122"/>
                        </a:rPr>
                        <a:t>）</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en-US" sz="1200">
                          <a:latin typeface="微软雅黑" panose="020B0503020204020204" pitchFamily="34" charset="-122"/>
                          <a:ea typeface="微软雅黑" panose="020B0503020204020204" pitchFamily="34" charset="-122"/>
                          <a:cs typeface="微软雅黑" panose="020B0503020204020204" pitchFamily="34" charset="-122"/>
                        </a:rPr>
                        <a:t>116.00</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9.29</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sz="1200">
                          <a:latin typeface="微软雅黑" panose="020B0503020204020204" pitchFamily="34" charset="-122"/>
                          <a:ea typeface="微软雅黑" panose="020B0503020204020204" pitchFamily="34" charset="-122"/>
                          <a:cs typeface="微软雅黑" panose="020B0503020204020204" pitchFamily="34" charset="-122"/>
                        </a:rPr>
                        <a:t>125.17</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12.33</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0.041</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274320">
                <a:tc>
                  <a:txBody>
                    <a:bodyPr/>
                    <a:p>
                      <a:pPr algn="ctr">
                        <a:buNone/>
                      </a:pPr>
                      <a:r>
                        <a:rPr lang="zh-CN" altLang="en-US" sz="1200">
                          <a:latin typeface="微软雅黑" panose="020B0503020204020204" pitchFamily="34" charset="-122"/>
                          <a:ea typeface="微软雅黑" panose="020B0503020204020204" pitchFamily="34" charset="-122"/>
                          <a:sym typeface="+mn-ea"/>
                        </a:rPr>
                        <a:t>拔管引流时间</a:t>
                      </a:r>
                      <a:r>
                        <a:rPr lang="en-US" altLang="zh-CN" sz="1200">
                          <a:latin typeface="微软雅黑" panose="020B0503020204020204" pitchFamily="34" charset="-122"/>
                          <a:ea typeface="微软雅黑" panose="020B0503020204020204" pitchFamily="34" charset="-122"/>
                          <a:sym typeface="+mn-ea"/>
                        </a:rPr>
                        <a:t>h</a:t>
                      </a:r>
                      <a:endParaRPr lang="en-US" altLang="zh-CN" sz="1200">
                        <a:latin typeface="微软雅黑" panose="020B0503020204020204" pitchFamily="34" charset="-122"/>
                        <a:ea typeface="微软雅黑" panose="020B0503020204020204" pitchFamily="34" charset="-122"/>
                        <a:sym typeface="+mn-ea"/>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41.67</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5.99</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48.75</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5.93</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0.025</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r h="274320">
                <a:tc>
                  <a:txBody>
                    <a:bodyPr/>
                    <a:p>
                      <a:pPr algn="ctr">
                        <a:buNone/>
                      </a:pPr>
                      <a:r>
                        <a:rPr lang="zh-CN" altLang="en-US" sz="1200">
                          <a:latin typeface="微软雅黑" panose="020B0503020204020204" pitchFamily="34" charset="-122"/>
                          <a:ea typeface="微软雅黑" panose="020B0503020204020204" pitchFamily="34" charset="-122"/>
                        </a:rPr>
                        <a:t>平均住院时间</a:t>
                      </a:r>
                      <a:r>
                        <a:rPr lang="en-US" altLang="zh-CN" sz="1200">
                          <a:latin typeface="微软雅黑" panose="020B0503020204020204" pitchFamily="34" charset="-122"/>
                          <a:ea typeface="微软雅黑" panose="020B0503020204020204" pitchFamily="34" charset="-122"/>
                        </a:rPr>
                        <a:t>d</a:t>
                      </a:r>
                      <a:endParaRPr lang="en-US" altLang="zh-CN" sz="1200">
                        <a:latin typeface="微软雅黑" panose="020B0503020204020204" pitchFamily="34" charset="-122"/>
                        <a:ea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14.67</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1.07</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15.92</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1.08</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c>
                  <a:txBody>
                    <a:bodyPr/>
                    <a:p>
                      <a:pPr algn="ctr">
                        <a:buNone/>
                      </a:pPr>
                      <a:r>
                        <a:rPr lang="en-US" altLang="zh-CN" sz="1200">
                          <a:latin typeface="微软雅黑" panose="020B0503020204020204" pitchFamily="34" charset="-122"/>
                          <a:ea typeface="微软雅黑" panose="020B0503020204020204" pitchFamily="34" charset="-122"/>
                          <a:cs typeface="微软雅黑" panose="020B0503020204020204" pitchFamily="34" charset="-122"/>
                        </a:rPr>
                        <a:t>0.032</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tc>
              </a:tr>
            </a:tbl>
          </a:graphicData>
        </a:graphic>
      </p:graphicFrame>
      <p:sp>
        <p:nvSpPr>
          <p:cNvPr id="2" name="文本框 1"/>
          <p:cNvSpPr txBox="1"/>
          <p:nvPr/>
        </p:nvSpPr>
        <p:spPr>
          <a:xfrm>
            <a:off x="495935" y="6414135"/>
            <a:ext cx="9924415" cy="477520"/>
          </a:xfrm>
          <a:prstGeom prst="rect">
            <a:avLst/>
          </a:prstGeom>
        </p:spPr>
        <p:txBody>
          <a:bodyPr>
            <a:noAutofit/>
          </a:bodyPr>
          <a:p>
            <a:pPr marL="0" indent="0" algn="l"/>
            <a:r>
              <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田鑫</a:t>
            </a:r>
            <a:r>
              <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等</a:t>
            </a:r>
            <a:r>
              <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纤维蛋白封闭剂在颅脑手术中应用的临床研究</a:t>
            </a:r>
            <a:r>
              <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临床外科杂志</a:t>
            </a:r>
            <a:r>
              <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 2004.12(2).124-125.</a:t>
            </a:r>
            <a:endPar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endParaRPr>
          </a:p>
          <a:p>
            <a:pPr marL="0" indent="0" algn="l"/>
            <a:r>
              <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赵晔等</a:t>
            </a:r>
            <a:r>
              <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喷涂医用生物蛋白胶减少心包大部剥脱患者术后渗血</a:t>
            </a:r>
            <a:r>
              <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中国组织工程研究与临床康复</a:t>
            </a:r>
            <a:r>
              <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rPr>
              <a:t>, 2007, 11(13):3.2522-2524.</a:t>
            </a:r>
            <a:endParaRPr lang="en-US" altLang="zh-CN" sz="1000" b="0" i="0">
              <a:solidFill>
                <a:srgbClr val="222222"/>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创新性（一）</a:t>
            </a:r>
            <a:r>
              <a:rPr lang="zh-CN" altLang="en-US" dirty="0">
                <a:solidFill>
                  <a:srgbClr val="1A1918"/>
                </a:solidFill>
                <a:latin typeface="微软雅黑" panose="020B0503020204020204" pitchFamily="34" charset="-122"/>
                <a:ea typeface="微软雅黑" panose="020B0503020204020204" pitchFamily="34" charset="-122"/>
              </a:rPr>
              <a:t>（</a:t>
            </a:r>
            <a:r>
              <a:rPr lang="zh-CN" altLang="en-US">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工艺创新、质控创新）</a:t>
            </a:r>
            <a:endParaRPr lang="zh-CN" altLang="en-US"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 name="椭圆 6"/>
          <p:cNvSpPr/>
          <p:nvPr/>
        </p:nvSpPr>
        <p:spPr>
          <a:xfrm>
            <a:off x="616186" y="315174"/>
            <a:ext cx="360000" cy="360000"/>
          </a:xfrm>
          <a:prstGeom prst="ellipse">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4</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0" name="灯片编号占位符 3"/>
          <p:cNvSpPr>
            <a:spLocks noGrp="1"/>
          </p:cNvSpPr>
          <p:nvPr>
            <p:ph type="sldNum" sz="quarter" idx="4"/>
          </p:nvPr>
        </p:nvSpPr>
        <p:spPr>
          <a:xfrm>
            <a:off x="311150" y="6523001"/>
            <a:ext cx="294928" cy="196131"/>
          </a:xfrm>
        </p:spPr>
        <p:txBody>
          <a:bodyPr/>
          <a:lstStyle/>
          <a:p>
            <a:pPr defTabSz="1218565"/>
            <a:r>
              <a:rPr lang="en-US" altLang="ja-JP" dirty="0"/>
              <a:t>7</a:t>
            </a:r>
            <a:endParaRPr lang="ja-JP" altLang="en-US" dirty="0"/>
          </a:p>
        </p:txBody>
      </p:sp>
      <p:pic>
        <p:nvPicPr>
          <p:cNvPr id="22" name="图片 21"/>
          <p:cNvPicPr>
            <a:picLocks noChangeAspect="1"/>
          </p:cNvPicPr>
          <p:nvPr/>
        </p:nvPicPr>
        <p:blipFill>
          <a:blip r:embed="rId1"/>
          <a:stretch>
            <a:fillRect/>
          </a:stretch>
        </p:blipFill>
        <p:spPr>
          <a:xfrm>
            <a:off x="9782989" y="1663917"/>
            <a:ext cx="1714586" cy="2120345"/>
          </a:xfrm>
          <a:prstGeom prst="rect">
            <a:avLst/>
          </a:prstGeom>
        </p:spPr>
      </p:pic>
      <p:sp>
        <p:nvSpPr>
          <p:cNvPr id="29" name="矩形: 圆角 28"/>
          <p:cNvSpPr/>
          <p:nvPr/>
        </p:nvSpPr>
        <p:spPr>
          <a:xfrm>
            <a:off x="9783624" y="1650433"/>
            <a:ext cx="1714586" cy="2120345"/>
          </a:xfrm>
          <a:prstGeom prst="roundRect">
            <a:avLst>
              <a:gd name="adj" fmla="val 9618"/>
            </a:avLst>
          </a:prstGeom>
          <a:noFill/>
          <a:ln w="19050">
            <a:solidFill>
              <a:schemeClr val="tx2">
                <a:lumMod val="60000"/>
                <a:lumOff val="4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latin typeface="Times New Roman" panose="02020603050405020304" charset="0"/>
              <a:ea typeface="微软雅黑" panose="020B0503020204020204" pitchFamily="34" charset="-122"/>
              <a:cs typeface="Times New Roman" panose="02020603050405020304" charset="0"/>
            </a:endParaRPr>
          </a:p>
        </p:txBody>
      </p:sp>
      <p:grpSp>
        <p:nvGrpSpPr>
          <p:cNvPr id="13" name="组合 12"/>
          <p:cNvGrpSpPr/>
          <p:nvPr/>
        </p:nvGrpSpPr>
        <p:grpSpPr>
          <a:xfrm>
            <a:off x="262068" y="1538546"/>
            <a:ext cx="11666591" cy="4984208"/>
            <a:chOff x="2623469" y="505641"/>
            <a:chExt cx="8884039" cy="5327889"/>
          </a:xfrm>
        </p:grpSpPr>
        <p:grpSp>
          <p:nvGrpSpPr>
            <p:cNvPr id="15" name="组合 14"/>
            <p:cNvGrpSpPr/>
            <p:nvPr/>
          </p:nvGrpSpPr>
          <p:grpSpPr>
            <a:xfrm>
              <a:off x="2623469" y="564991"/>
              <a:ext cx="8555911" cy="2415120"/>
              <a:chOff x="299900" y="1068887"/>
              <a:chExt cx="9003773" cy="2033815"/>
            </a:xfrm>
          </p:grpSpPr>
          <p:sp>
            <p:nvSpPr>
              <p:cNvPr id="31" name="矩形: 圆角 30"/>
              <p:cNvSpPr/>
              <p:nvPr>
                <p:custDataLst>
                  <p:tags r:id="rId2"/>
                </p:custDataLst>
              </p:nvPr>
            </p:nvSpPr>
            <p:spPr>
              <a:xfrm>
                <a:off x="3324565" y="1068887"/>
                <a:ext cx="5979108" cy="2033815"/>
              </a:xfrm>
              <a:prstGeom prst="roundRect">
                <a:avLst>
                  <a:gd name="adj" fmla="val 4348"/>
                </a:avLst>
              </a:prstGeom>
              <a:noFill/>
              <a:ln w="19050">
                <a:solidFill>
                  <a:srgbClr val="B4C7E7"/>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32" name="矩形: 圆角 31"/>
              <p:cNvSpPr/>
              <p:nvPr>
                <p:custDataLst>
                  <p:tags r:id="rId3"/>
                </p:custDataLst>
              </p:nvPr>
            </p:nvSpPr>
            <p:spPr>
              <a:xfrm>
                <a:off x="299900" y="1068887"/>
                <a:ext cx="2579601" cy="1908703"/>
              </a:xfrm>
              <a:prstGeom prst="roundRect">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2800" b="1" dirty="0">
                    <a:solidFill>
                      <a:schemeClr val="bg1"/>
                    </a:solidFill>
                    <a:latin typeface="微软雅黑" panose="020B0503020204020204" pitchFamily="34" charset="-122"/>
                    <a:ea typeface="微软雅黑" panose="020B0503020204020204" pitchFamily="34" charset="-122"/>
                  </a:rPr>
                  <a:t>工艺创新</a:t>
                </a:r>
                <a:endParaRPr kumimoji="1" lang="zh-CN" altLang="en-US" sz="2800" b="1" dirty="0">
                  <a:solidFill>
                    <a:schemeClr val="bg1"/>
                  </a:solidFill>
                  <a:latin typeface="微软雅黑" panose="020B0503020204020204" pitchFamily="34" charset="-122"/>
                  <a:ea typeface="微软雅黑" panose="020B0503020204020204" pitchFamily="34" charset="-122"/>
                </a:endParaRPr>
              </a:p>
            </p:txBody>
          </p:sp>
        </p:grpSp>
        <p:sp>
          <p:nvSpPr>
            <p:cNvPr id="24" name="矩形: 圆角 23"/>
            <p:cNvSpPr/>
            <p:nvPr>
              <p:custDataLst>
                <p:tags r:id="rId4"/>
              </p:custDataLst>
            </p:nvPr>
          </p:nvSpPr>
          <p:spPr>
            <a:xfrm>
              <a:off x="5497523" y="3566979"/>
              <a:ext cx="5681717" cy="2266551"/>
            </a:xfrm>
            <a:prstGeom prst="roundRect">
              <a:avLst>
                <a:gd name="adj" fmla="val 4348"/>
              </a:avLst>
            </a:prstGeom>
            <a:noFill/>
            <a:ln w="19050">
              <a:solidFill>
                <a:srgbClr val="B4C7E7"/>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8" name="矩形 17"/>
            <p:cNvSpPr/>
            <p:nvPr>
              <p:custDataLst>
                <p:tags r:id="rId5"/>
              </p:custDataLst>
            </p:nvPr>
          </p:nvSpPr>
          <p:spPr>
            <a:xfrm>
              <a:off x="5638153" y="505641"/>
              <a:ext cx="4235440" cy="2400187"/>
            </a:xfrm>
            <a:prstGeom prst="rect">
              <a:avLst/>
            </a:prstGeom>
          </p:spPr>
          <p:txBody>
            <a:bodyPr wrap="square">
              <a:spAutoFit/>
            </a:bodyPr>
            <a:lstStyle/>
            <a:p>
              <a:pPr marL="285750" indent="-285750">
                <a:lnSpc>
                  <a:spcPct val="175000"/>
                </a:lnSpc>
                <a:buFont typeface="Wingdings" panose="05000000000000000000" charset="0"/>
                <a:buChar char="ü"/>
              </a:pPr>
              <a:r>
                <a:rPr lang="zh-CN" altLang="en-US" sz="1600" b="1" dirty="0">
                  <a:latin typeface="微软雅黑" panose="020B0503020204020204" pitchFamily="34" charset="-122"/>
                  <a:ea typeface="微软雅黑" panose="020B0503020204020204" pitchFamily="34" charset="-122"/>
                  <a:cs typeface="Times New Roman" panose="02020603050405020304" charset="0"/>
                </a:rPr>
                <a:t>生产工艺创新：</a:t>
              </a:r>
              <a:r>
                <a:rPr lang="zh-CN" altLang="en-US" sz="1600" dirty="0">
                  <a:latin typeface="微软雅黑" panose="020B0503020204020204" pitchFamily="34" charset="-122"/>
                  <a:ea typeface="微软雅黑" panose="020B0503020204020204" pitchFamily="34" charset="-122"/>
                  <a:cs typeface="Times New Roman" panose="02020603050405020304" charset="0"/>
                </a:rPr>
                <a:t>创新工艺提高主成分纤维蛋白原</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凝血因子</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XIII</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效价并形成专利，提高产品有效性。</a:t>
              </a:r>
              <a:endPar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endParaRPr>
            </a:p>
            <a:p>
              <a:pPr marL="285750" indent="-285750">
                <a:lnSpc>
                  <a:spcPct val="175000"/>
                </a:lnSpc>
                <a:buFont typeface="Wingdings" panose="05000000000000000000" charset="0"/>
                <a:buChar char="ü"/>
              </a:pPr>
              <a:r>
                <a:rPr lang="zh-CN" altLang="en-US" sz="1600" b="1" dirty="0">
                  <a:latin typeface="微软雅黑" panose="020B0503020204020204" pitchFamily="34" charset="-122"/>
                  <a:ea typeface="微软雅黑" panose="020B0503020204020204" pitchFamily="34" charset="-122"/>
                  <a:cs typeface="Times New Roman" panose="02020603050405020304" charset="0"/>
                  <a:sym typeface="+mn-ea"/>
                </a:rPr>
                <a:t>减少聚山梨酯80制剂：</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生产工艺不通过添加聚山梨酯80方式创新</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性解决大分子蛋白难溶问题，避免产品溶血、血管扩张及血压下降等不良反应。</a:t>
              </a:r>
              <a:endPar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endParaRPr>
            </a:p>
          </p:txBody>
        </p:sp>
        <p:sp>
          <p:nvSpPr>
            <p:cNvPr id="19" name="矩形 18"/>
            <p:cNvSpPr/>
            <p:nvPr>
              <p:custDataLst>
                <p:tags r:id="rId6"/>
              </p:custDataLst>
            </p:nvPr>
          </p:nvSpPr>
          <p:spPr>
            <a:xfrm>
              <a:off x="5638153" y="3785571"/>
              <a:ext cx="5869355" cy="2047218"/>
            </a:xfrm>
            <a:prstGeom prst="rect">
              <a:avLst/>
            </a:prstGeom>
          </p:spPr>
          <p:txBody>
            <a:bodyPr wrap="square">
              <a:noAutofit/>
            </a:bodyPr>
            <a:lstStyle/>
            <a:p>
              <a:pPr marL="285750" indent="-285750">
                <a:lnSpc>
                  <a:spcPct val="200000"/>
                </a:lnSpc>
                <a:buFont typeface="Wingdings" panose="05000000000000000000" charset="0"/>
                <a:buChar char="ü"/>
              </a:pPr>
              <a:r>
                <a:rPr lang="zh-CN" altLang="en-US" sz="1600" b="1" dirty="0">
                  <a:latin typeface="微软雅黑" panose="020B0503020204020204" pitchFamily="34" charset="-122"/>
                  <a:ea typeface="微软雅黑" panose="020B0503020204020204" pitchFamily="34" charset="-122"/>
                  <a:cs typeface="Times New Roman" panose="02020603050405020304" charset="0"/>
                  <a:sym typeface="+mn-ea"/>
                </a:rPr>
                <a:t>原料：</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原料</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血浆</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关键质量指标</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微生物限度</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标准仅为类似产品的</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1/3</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a:t>
              </a:r>
              <a:endParaRPr lang="zh-CN" altLang="en-US" sz="1600" dirty="0">
                <a:latin typeface="微软雅黑" panose="020B0503020204020204" pitchFamily="34" charset="-122"/>
                <a:ea typeface="微软雅黑" panose="020B0503020204020204" pitchFamily="34" charset="-122"/>
                <a:cs typeface="Times New Roman" panose="02020603050405020304" charset="0"/>
              </a:endParaRPr>
            </a:p>
            <a:p>
              <a:pPr marL="285750" indent="-285750">
                <a:lnSpc>
                  <a:spcPct val="200000"/>
                </a:lnSpc>
                <a:buFont typeface="Wingdings" panose="05000000000000000000" charset="0"/>
                <a:buChar char="ü"/>
              </a:pPr>
              <a:r>
                <a:rPr lang="zh-CN" altLang="en-US" sz="1600" b="1" dirty="0">
                  <a:latin typeface="微软雅黑" panose="020B0503020204020204" pitchFamily="34" charset="-122"/>
                  <a:ea typeface="微软雅黑" panose="020B0503020204020204" pitchFamily="34" charset="-122"/>
                  <a:cs typeface="Times New Roman" panose="02020603050405020304" charset="0"/>
                  <a:sym typeface="+mn-ea"/>
                </a:rPr>
                <a:t>中间体：</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中间体是国内类似产品中唯一一家增加</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热原检查</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标准进行控制。</a:t>
              </a:r>
              <a:endParaRPr lang="zh-CN" altLang="en-US" sz="1600" dirty="0">
                <a:latin typeface="微软雅黑" panose="020B0503020204020204" pitchFamily="34" charset="-122"/>
                <a:ea typeface="微软雅黑" panose="020B0503020204020204" pitchFamily="34" charset="-122"/>
                <a:cs typeface="Times New Roman" panose="02020603050405020304" charset="0"/>
              </a:endParaRPr>
            </a:p>
            <a:p>
              <a:pPr marL="285750" indent="-285750">
                <a:lnSpc>
                  <a:spcPct val="200000"/>
                </a:lnSpc>
                <a:buFont typeface="Wingdings" panose="05000000000000000000" charset="0"/>
                <a:buChar char="ü"/>
              </a:pPr>
              <a:r>
                <a:rPr lang="zh-CN" altLang="en-US" sz="1600" b="1" dirty="0">
                  <a:latin typeface="微软雅黑" panose="020B0503020204020204" pitchFamily="34" charset="-122"/>
                  <a:ea typeface="微软雅黑" panose="020B0503020204020204" pitchFamily="34" charset="-122"/>
                  <a:cs typeface="Times New Roman" panose="02020603050405020304" charset="0"/>
                  <a:sym typeface="+mn-ea"/>
                </a:rPr>
                <a:t>制剂：</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终产品关键指标</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聚山梨酯</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80</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残留量</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标准仅为类似产品的</a:t>
              </a:r>
              <a:r>
                <a:rPr lang="en-US" altLang="zh-CN" sz="1600" dirty="0">
                  <a:latin typeface="微软雅黑" panose="020B0503020204020204" pitchFamily="34" charset="-122"/>
                  <a:ea typeface="微软雅黑" panose="020B0503020204020204" pitchFamily="34" charset="-122"/>
                  <a:cs typeface="Times New Roman" panose="02020603050405020304" charset="0"/>
                  <a:sym typeface="+mn-ea"/>
                </a:rPr>
                <a:t>1/23</a:t>
              </a:r>
              <a:r>
                <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rPr>
                <a:t>。</a:t>
              </a:r>
              <a:endParaRPr lang="zh-CN" altLang="en-US" sz="1600" dirty="0">
                <a:latin typeface="微软雅黑" panose="020B0503020204020204" pitchFamily="34" charset="-122"/>
                <a:ea typeface="微软雅黑" panose="020B0503020204020204" pitchFamily="34" charset="-122"/>
                <a:cs typeface="Times New Roman" panose="02020603050405020304" charset="0"/>
                <a:sym typeface="+mn-ea"/>
              </a:endParaRPr>
            </a:p>
          </p:txBody>
        </p:sp>
      </p:grpSp>
      <p:sp>
        <p:nvSpPr>
          <p:cNvPr id="33" name="矩形: 圆角 32"/>
          <p:cNvSpPr/>
          <p:nvPr>
            <p:custDataLst>
              <p:tags r:id="rId7"/>
            </p:custDataLst>
          </p:nvPr>
        </p:nvSpPr>
        <p:spPr>
          <a:xfrm>
            <a:off x="262706" y="4342661"/>
            <a:ext cx="3219048" cy="2120345"/>
          </a:xfrm>
          <a:prstGeom prst="roundRect">
            <a:avLst/>
          </a:prstGeom>
          <a:solidFill>
            <a:schemeClr val="accent1"/>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2800" b="1" dirty="0">
                <a:solidFill>
                  <a:schemeClr val="bg1"/>
                </a:solidFill>
                <a:latin typeface="微软雅黑" panose="020B0503020204020204" pitchFamily="34" charset="-122"/>
                <a:ea typeface="微软雅黑" panose="020B0503020204020204" pitchFamily="34" charset="-122"/>
              </a:rPr>
              <a:t>质控创新</a:t>
            </a:r>
            <a:endParaRPr kumimoji="1" lang="zh-CN" altLang="en-US" sz="2800" b="1" dirty="0">
              <a:solidFill>
                <a:schemeClr val="bg1"/>
              </a:solidFill>
              <a:latin typeface="微软雅黑" panose="020B0503020204020204" pitchFamily="34" charset="-122"/>
              <a:ea typeface="微软雅黑" panose="020B0503020204020204" pitchFamily="34" charset="-122"/>
            </a:endParaRPr>
          </a:p>
        </p:txBody>
      </p:sp>
      <p:cxnSp>
        <p:nvCxnSpPr>
          <p:cNvPr id="34" name="直接箭头连接符 33"/>
          <p:cNvCxnSpPr/>
          <p:nvPr>
            <p:custDataLst>
              <p:tags r:id="rId8"/>
            </p:custDataLst>
          </p:nvPr>
        </p:nvCxnSpPr>
        <p:spPr>
          <a:xfrm flipV="1">
            <a:off x="3503429" y="2488504"/>
            <a:ext cx="511829" cy="84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custDataLst>
              <p:tags r:id="rId9"/>
            </p:custDataLst>
          </p:nvPr>
        </p:nvCxnSpPr>
        <p:spPr>
          <a:xfrm flipV="1">
            <a:off x="3525105" y="5348645"/>
            <a:ext cx="511829" cy="84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 name="直接连接符 2"/>
          <p:cNvCxnSpPr/>
          <p:nvPr/>
        </p:nvCxnSpPr>
        <p:spPr>
          <a:xfrm>
            <a:off x="310963" y="4144450"/>
            <a:ext cx="11235507" cy="0"/>
          </a:xfrm>
          <a:prstGeom prst="line">
            <a:avLst/>
          </a:prstGeom>
          <a:ln w="12700">
            <a:prstDash val="dash"/>
          </a:ln>
        </p:spPr>
        <p:style>
          <a:lnRef idx="1">
            <a:schemeClr val="accent5"/>
          </a:lnRef>
          <a:fillRef idx="0">
            <a:schemeClr val="accent5"/>
          </a:fillRef>
          <a:effectRef idx="0">
            <a:schemeClr val="accent5"/>
          </a:effectRef>
          <a:fontRef idx="minor">
            <a:schemeClr val="tx1"/>
          </a:fontRef>
        </p:style>
      </p:cxnSp>
      <p:sp>
        <p:nvSpPr>
          <p:cNvPr id="2" name="文本框 1"/>
          <p:cNvSpPr txBox="1"/>
          <p:nvPr/>
        </p:nvSpPr>
        <p:spPr>
          <a:xfrm>
            <a:off x="1493520" y="1023620"/>
            <a:ext cx="9163050" cy="413385"/>
          </a:xfrm>
          <a:prstGeom prst="rect">
            <a:avLst/>
          </a:prstGeom>
        </p:spPr>
        <p:txBody>
          <a:bodyPr wrap="square">
            <a:noAutofit/>
          </a:bodyPr>
          <a:p>
            <a:pPr marL="0" indent="0" algn="just" defTabSz="266700">
              <a:spcBef>
                <a:spcPct val="0"/>
              </a:spcBef>
              <a:spcAft>
                <a:spcPct val="0"/>
              </a:spcAft>
            </a:pPr>
            <a:r>
              <a:rPr lang="zh-CN" altLang="en-US" sz="2000" b="1" dirty="0">
                <a:latin typeface="微软雅黑" panose="020B0503020204020204" pitchFamily="34" charset="-122"/>
                <a:ea typeface="微软雅黑" panose="020B0503020204020204" pitchFamily="34" charset="-122"/>
                <a:cs typeface="Times New Roman" panose="02020603050405020304" charset="0"/>
              </a:rPr>
              <a:t>通过生产工艺创新和质量控制创新，提</a:t>
            </a:r>
            <a:r>
              <a:rPr lang="zh-CN" altLang="en-US" sz="2000" b="1" dirty="0">
                <a:latin typeface="微软雅黑" panose="020B0503020204020204" pitchFamily="34" charset="-122"/>
                <a:ea typeface="微软雅黑" panose="020B0503020204020204" pitchFamily="34" charset="-122"/>
                <a:cs typeface="Times New Roman" panose="02020603050405020304" charset="0"/>
              </a:rPr>
              <a:t>升产品的安全性、有效性和质量可控性。</a:t>
            </a:r>
            <a:endParaRPr lang="zh-CN" altLang="en-US" sz="2000" b="1" dirty="0">
              <a:latin typeface="微软雅黑" panose="020B0503020204020204" pitchFamily="34" charset="-122"/>
              <a:ea typeface="微软雅黑" panose="020B0503020204020204" pitchFamily="34" charset="-122"/>
              <a:cs typeface="Times New Roman" panose="02020603050405020304" charset="0"/>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11.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12.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13.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14.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15.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16.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17.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18.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19.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2.xml><?xml version="1.0" encoding="utf-8"?>
<p:tagLst xmlns:p="http://schemas.openxmlformats.org/presentationml/2006/main">
  <p:tag name="THINKCELLSHAPEDONOTDELETE" val="t91s2wmrLno._6pCV7LnEig"/>
</p:tagLst>
</file>

<file path=ppt/tags/tag20.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21.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CMdtSejGNFskfoszYHdwBw"/>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CMdtSejGNFskfoszYHdwBw"/>
</p:tagLst>
</file>

<file path=ppt/tags/tag26.xml><?xml version="1.0" encoding="utf-8"?>
<p:tagLst xmlns:p="http://schemas.openxmlformats.org/presentationml/2006/main">
  <p:tag name="KSO_WM_DIAGRAM_VIRTUALLY_FRAME" val="{&quot;height&quot;:401.5121733655789,&quot;left&quot;:82.19425196850389,&quot;top&quot;:106.36803149606297,&quot;width&quot;:805.7376226894945}"/>
</p:tagLst>
</file>

<file path=ppt/tags/tag27.xml><?xml version="1.0" encoding="utf-8"?>
<p:tagLst xmlns:p="http://schemas.openxmlformats.org/presentationml/2006/main">
  <p:tag name="KSO_WM_DIAGRAM_VIRTUALLY_FRAME" val="{&quot;height&quot;:401.5121733655789,&quot;left&quot;:82.19425196850389,&quot;top&quot;:106.36803149606297,&quot;width&quot;:805.7376226894945}"/>
</p:tagLst>
</file>

<file path=ppt/tags/tag28.xml><?xml version="1.0" encoding="utf-8"?>
<p:tagLst xmlns:p="http://schemas.openxmlformats.org/presentationml/2006/main">
  <p:tag name="KSO_WM_DIAGRAM_VIRTUALLY_FRAME" val="{&quot;height&quot;:401.5121733655789,&quot;left&quot;:82.19425196850389,&quot;top&quot;:106.36803149606297,&quot;width&quot;:805.7376226894945}"/>
</p:tagLst>
</file>

<file path=ppt/tags/tag29.xml><?xml version="1.0" encoding="utf-8"?>
<p:tagLst xmlns:p="http://schemas.openxmlformats.org/presentationml/2006/main">
  <p:tag name="KSO_WM_DIAGRAM_VIRTUALLY_FRAME" val="{&quot;height&quot;:401.5121733655789,&quot;left&quot;:82.19425196850389,&quot;top&quot;:106.36803149606297,&quot;width&quot;:805.7376226894945}"/>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DIAGRAM_VIRTUALLY_FRAME" val="{&quot;height&quot;:401.5121733655789,&quot;left&quot;:82.19425196850389,&quot;top&quot;:106.36803149606297,&quot;width&quot;:805.7376226894945}"/>
</p:tagLst>
</file>

<file path=ppt/tags/tag31.xml><?xml version="1.0" encoding="utf-8"?>
<p:tagLst xmlns:p="http://schemas.openxmlformats.org/presentationml/2006/main">
  <p:tag name="KSO_WM_DIAGRAM_VIRTUALLY_FRAME" val="{&quot;height&quot;:401.5121733655789,&quot;left&quot;:82.19425196850389,&quot;top&quot;:106.36803149606297,&quot;width&quot;:805.7376226894945}"/>
</p:tagLst>
</file>

<file path=ppt/tags/tag32.xml><?xml version="1.0" encoding="utf-8"?>
<p:tagLst xmlns:p="http://schemas.openxmlformats.org/presentationml/2006/main">
  <p:tag name="KSO_WM_BEAUTIFY_FLAG" val=""/>
  <p:tag name="KSO_WM_DIAGRAM_VIRTUALLY_FRAME" val="{&quot;height&quot;:401.5121733655789,&quot;left&quot;:82.19425196850389,&quot;top&quot;:106.36803149606297,&quot;width&quot;:805.7376226894945}"/>
</p:tagLst>
</file>

<file path=ppt/tags/tag33.xml><?xml version="1.0" encoding="utf-8"?>
<p:tagLst xmlns:p="http://schemas.openxmlformats.org/presentationml/2006/main">
  <p:tag name="KSO_WM_BEAUTIFY_FLAG" val=""/>
  <p:tag name="KSO_WM_DIAGRAM_VIRTUALLY_FRAME" val="{&quot;height&quot;:401.5121733655789,&quot;left&quot;:82.19425196850389,&quot;top&quot;:106.36803149606297,&quot;width&quot;:805.7376226894945}"/>
</p:tagLst>
</file>

<file path=ppt/tags/tag34.xml><?xml version="1.0" encoding="utf-8"?>
<p:tagLst xmlns:p="http://schemas.openxmlformats.org/presentationml/2006/main">
  <p:tag name="KSO_WM_BEAUTIFY_FLAG" val=""/>
  <p:tag name="KSO_WM_DIAGRAM_VIRTUALLY_FRAME" val="{&quot;height&quot;:401.5121733655789,&quot;left&quot;:82.19425196850389,&quot;top&quot;:106.36803149606297,&quot;width&quot;:805.7376226894945}"/>
</p:tagLst>
</file>

<file path=ppt/tags/tag35.xml><?xml version="1.0" encoding="utf-8"?>
<p:tagLst xmlns:p="http://schemas.openxmlformats.org/presentationml/2006/main">
  <p:tag name="KSO_WM_BEAUTIFY_FLAG" val=""/>
  <p:tag name="KSO_WM_DIAGRAM_VIRTUALLY_FRAME" val="{&quot;height&quot;:401.5121733655789,&quot;left&quot;:82.19425196850389,&quot;top&quot;:106.36803149606297,&quot;width&quot;:805.7376226894945}"/>
</p:tagLst>
</file>

<file path=ppt/tags/tag36.xml><?xml version="1.0" encoding="utf-8"?>
<p:tagLst xmlns:p="http://schemas.openxmlformats.org/presentationml/2006/main">
  <p:tag name="KSO_WM_DIAGRAM_VIRTUALLY_FRAME" val="{&quot;height&quot;:401.5121733655789,&quot;left&quot;:82.19425196850389,&quot;top&quot;:106.36803149606297,&quot;width&quot;:805.7376226894945}"/>
</p:tagLst>
</file>

<file path=ppt/tags/tag37.xml><?xml version="1.0" encoding="utf-8"?>
<p:tagLst xmlns:p="http://schemas.openxmlformats.org/presentationml/2006/main">
  <p:tag name="KSO_WM_BEAUTIFY_FLAG" val=""/>
  <p:tag name="KSO_WM_DIAGRAM_VIRTUALLY_FRAME" val="{&quot;height&quot;:401.5121733655789,&quot;left&quot;:82.19425196850389,&quot;top&quot;:106.36803149606297,&quot;width&quot;:805.7376226894945}"/>
</p:tagLst>
</file>

<file path=ppt/tags/tag38.xml><?xml version="1.0" encoding="utf-8"?>
<p:tagLst xmlns:p="http://schemas.openxmlformats.org/presentationml/2006/main">
  <p:tag name="KSO_WM_BEAUTIFY_FLAG" val=""/>
  <p:tag name="KSO_WM_DIAGRAM_VIRTUALLY_FRAME" val="{&quot;height&quot;:401.5121733655789,&quot;left&quot;:82.19425196850389,&quot;top&quot;:106.36803149606297,&quot;width&quot;:805.7376226894945}"/>
</p:tagLst>
</file>

<file path=ppt/tags/tag39.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CMdtSejGNFskfoszYHdwBw"/>
</p:tagLst>
</file>

<file path=ppt/tags/tag40.xml><?xml version="1.0" encoding="utf-8"?>
<p:tagLst xmlns:p="http://schemas.openxmlformats.org/presentationml/2006/main">
  <p:tag name="THINKCELLSHAPEDONOTDELETE" val="tCMdtSejGNFskfoszYHdwBw"/>
</p:tagLst>
</file>

<file path=ppt/tags/tag41.xml><?xml version="1.0" encoding="utf-8"?>
<p:tagLst xmlns:p="http://schemas.openxmlformats.org/presentationml/2006/main">
  <p:tag name="TABLE_ENDDRAG_ORIGIN_RECT" val="899*400"/>
  <p:tag name="TABLE_ENDDRAG_RECT" val="28*126*899*400"/>
</p:tagLst>
</file>

<file path=ppt/tags/tag42.xml><?xml version="1.0" encoding="utf-8"?>
<p:tagLst xmlns:p="http://schemas.openxmlformats.org/presentationml/2006/main">
  <p:tag name="THINKCELLSHAPEDONOTDELETE" val="thinkcellActiveDocDoNotDelete"/>
</p:tagLst>
</file>

<file path=ppt/tags/tag43.xml><?xml version="1.0" encoding="utf-8"?>
<p:tagLst xmlns:p="http://schemas.openxmlformats.org/presentationml/2006/main">
  <p:tag name="THINKCELLSHAPEDONOTDELETE" val="tCMdtSejGNFskfoszYHdwBw"/>
</p:tagLst>
</file>

<file path=ppt/tags/tag44.xml><?xml version="1.0" encoding="utf-8"?>
<p:tagLst xmlns:p="http://schemas.openxmlformats.org/presentationml/2006/main">
  <p:tag name="TABLE_ENDDRAG_ORIGIN_RECT" val="423*130"/>
  <p:tag name="TABLE_ENDDRAG_RECT" val="24*255*423*130"/>
</p:tagLst>
</file>

<file path=ppt/tags/tag45.xml><?xml version="1.0" encoding="utf-8"?>
<p:tagLst xmlns:p="http://schemas.openxmlformats.org/presentationml/2006/main">
  <p:tag name="TABLE_ENDDRAG_ORIGIN_RECT" val="415*140"/>
  <p:tag name="TABLE_ENDDRAG_RECT" val="500*290*415*140"/>
</p:tagLst>
</file>

<file path=ppt/tags/tag46.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47.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48.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49.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51.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52.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53.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ags/tag54.xml><?xml version="1.0" encoding="utf-8"?>
<p:tagLst xmlns:p="http://schemas.openxmlformats.org/presentationml/2006/main">
  <p:tag name="THINKCELLSHAPEDONOTDELETE" val="thinkcellActiveDocDoNotDelete"/>
</p:tagLst>
</file>

<file path=ppt/tags/tag55.xml><?xml version="1.0" encoding="utf-8"?>
<p:tagLst xmlns:p="http://schemas.openxmlformats.org/presentationml/2006/main">
  <p:tag name="THINKCELLSHAPEDONOTDELETE" val="tCMdtSejGNFskfoszYHdwBw"/>
</p:tagLst>
</file>

<file path=ppt/tags/tag56.xml><?xml version="1.0" encoding="utf-8"?>
<p:tagLst xmlns:p="http://schemas.openxmlformats.org/presentationml/2006/main">
  <p:tag name="THINKCELLSHAPEDONOTDELETE" val="thinkcellActiveDocDoNotDelete"/>
</p:tagLst>
</file>

<file path=ppt/tags/tag57.xml><?xml version="1.0" encoding="utf-8"?>
<p:tagLst xmlns:p="http://schemas.openxmlformats.org/presentationml/2006/main">
  <p:tag name="THINKCELLSHAPEDONOTDELETE" val="tCMdtSejGNFskfoszYHdwBw"/>
</p:tagLst>
</file>

<file path=ppt/tags/tag6.xml><?xml version="1.0" encoding="utf-8"?>
<p:tagLst xmlns:p="http://schemas.openxmlformats.org/presentationml/2006/main">
  <p:tag name="THINKCELLSHAPEDONOTDELETE" val="tCMdtSejGNFskfoszYHdwBw"/>
</p:tagLst>
</file>

<file path=ppt/tags/tag61.xml><?xml version="1.0" encoding="utf-8"?>
<p:tagLst xmlns:p="http://schemas.openxmlformats.org/presentationml/2006/main">
  <p:tag name="THINKCELLUNDODONOTDELETE" val="0"/>
  <p:tag name="KSO_WPP_MARK_KEY" val="4a425811-855c-4442-87d3-8154af6c2f65"/>
  <p:tag name="COMMONDATA" val="eyJoZGlkIjoiYjI2ZjI2YzNhMjc1NmJiNGQ5Y2VkOWI4YzNhMGM0ZGUifQ=="/>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CMdtSejGNFskfoszYHdwBw"/>
</p:tagLst>
</file>

<file path=ppt/tags/tag9.xml><?xml version="1.0" encoding="utf-8"?>
<p:tagLst xmlns:p="http://schemas.openxmlformats.org/presentationml/2006/main">
  <p:tag name="KSO_WM_DIAGRAM_VIRTUALLY_FRAME" val="{&quot;height&quot;:384.0514960629921,&quot;left&quot;:206.57251968503937,&quot;top&quot;:78.72244094488188,&quot;width&quot;:699.5304724409449}"/>
</p:tagLst>
</file>

<file path=ppt/theme/theme1.xml><?xml version="1.0" encoding="utf-8"?>
<a:theme xmlns:a="http://schemas.openxmlformats.org/drawingml/2006/main" name="Takeda Slide Mast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60.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788AB4271D2F4B82540158621652FA" ma:contentTypeVersion="13" ma:contentTypeDescription="Create a new document." ma:contentTypeScope="" ma:versionID="841054a330d1441e23e9b56358b486a2">
  <xsd:schema xmlns:xsd="http://www.w3.org/2001/XMLSchema" xmlns:xs="http://www.w3.org/2001/XMLSchema" xmlns:p="http://schemas.microsoft.com/office/2006/metadata/properties" xmlns:ns3="c35d9128-0199-448a-8954-7c37adaffeb5" xmlns:ns4="a6f08481-6c03-4d4f-8c55-15386435109c" targetNamespace="http://schemas.microsoft.com/office/2006/metadata/properties" ma:root="true" ma:fieldsID="2d0b0b793b54908d3c23faa78937d367" ns3:_="" ns4:_="">
    <xsd:import namespace="c35d9128-0199-448a-8954-7c37adaffeb5"/>
    <xsd:import namespace="a6f08481-6c03-4d4f-8c55-15386435109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5d9128-0199-448a-8954-7c37adaffe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f08481-6c03-4d4f-8c55-1538643510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58.xml><?xml version="1.0" encoding="utf-8"?>
<ds:datastoreItem xmlns:ds="http://schemas.openxmlformats.org/officeDocument/2006/customXml" ds:itemID="{FCC3BB52-6112-4A90-B1AF-BB2849B50567}">
  <ds:schemaRefs/>
</ds:datastoreItem>
</file>

<file path=customXml/itemProps59.xml><?xml version="1.0" encoding="utf-8"?>
<ds:datastoreItem xmlns:ds="http://schemas.openxmlformats.org/officeDocument/2006/customXml" ds:itemID="{2064AA88-9994-4773-9B46-6F25641ADC01}">
  <ds:schemaRefs/>
</ds:datastoreItem>
</file>

<file path=customXml/itemProps60.xml><?xml version="1.0" encoding="utf-8"?>
<ds:datastoreItem xmlns:ds="http://schemas.openxmlformats.org/officeDocument/2006/customXml" ds:itemID="{8C19292C-02CA-454B-826A-C373CCBD4BE5}">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678</Words>
  <Application>WPS 演示</Application>
  <PresentationFormat>宽屏</PresentationFormat>
  <Paragraphs>498</Paragraphs>
  <Slides>11</Slides>
  <Notes>12</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10</vt:i4>
      </vt:variant>
      <vt:variant>
        <vt:lpstr>幻灯片标题</vt:lpstr>
      </vt:variant>
      <vt:variant>
        <vt:i4>11</vt:i4>
      </vt:variant>
    </vt:vector>
  </HeadingPairs>
  <TitlesOfParts>
    <vt:vector size="35" baseType="lpstr">
      <vt:lpstr>Arial</vt:lpstr>
      <vt:lpstr>宋体</vt:lpstr>
      <vt:lpstr>Wingdings</vt:lpstr>
      <vt:lpstr>Calibri</vt:lpstr>
      <vt:lpstr>メイリオ</vt:lpstr>
      <vt:lpstr>Yu Gothic UI</vt:lpstr>
      <vt:lpstr>微软雅黑</vt:lpstr>
      <vt:lpstr>Calibri</vt:lpstr>
      <vt:lpstr>Yu Gothic</vt:lpstr>
      <vt:lpstr>Wingdings</vt:lpstr>
      <vt:lpstr>Times New Roman</vt:lpstr>
      <vt:lpstr>Arial Unicode MS</vt:lpstr>
      <vt:lpstr>等线</vt:lpstr>
      <vt:lpstr>Takeda Slide Master</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猪纤维蛋白粘合剂 （商品名：康瑞胶）</vt:lpstr>
      <vt:lpstr>目录</vt:lpstr>
      <vt:lpstr>药品基本信息（猪纤维蛋白粘合剂适应症及参照药建议）</vt:lpstr>
      <vt:lpstr>药品基本信息（疾病情况、治疗现状及未满足临床需求）</vt:lpstr>
      <vt:lpstr>药品基本信息（有更好、更迅速的局部止血表现）</vt:lpstr>
      <vt:lpstr>安全性（大数据跟踪及监测，未见不良反应）</vt:lpstr>
      <vt:lpstr>有效性 (国内外指南及专家共识一致性推荐）</vt:lpstr>
      <vt:lpstr>有效性（临床试验数据支持产品有效性）   </vt:lpstr>
      <vt:lpstr>创新性（一）（工艺创新、质控创新）</vt:lpstr>
      <vt:lpstr>创新性（二）（关键原料创新）</vt:lpstr>
      <vt:lpstr>公平性（一）</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da  PowerPoint Template</dc:title>
  <dc:creator>Jiang, Abi</dc:creator>
  <cp:lastModifiedBy>令狐星星</cp:lastModifiedBy>
  <cp:revision>257</cp:revision>
  <dcterms:created xsi:type="dcterms:W3CDTF">2021-09-13T09:25:00Z</dcterms:created>
  <dcterms:modified xsi:type="dcterms:W3CDTF">2026-06-08T07:4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y fmtid="{D5CDD505-2E9C-101B-9397-08002B2CF9AE}" pid="3" name="ICV">
    <vt:lpwstr>0CA458988E134241BB62D0D976E24FF3_12</vt:lpwstr>
  </property>
  <property fmtid="{D5CDD505-2E9C-101B-9397-08002B2CF9AE}" pid="4" name="KSOProductBuildVer">
    <vt:lpwstr>2052-12.1.0.26895</vt:lpwstr>
  </property>
</Properties>
</file>